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2" r:id="rId2"/>
    <p:sldMasterId id="2147483663" r:id="rId3"/>
    <p:sldMasterId id="2147483667" r:id="rId4"/>
  </p:sldMasterIdLst>
  <p:notesMasterIdLst>
    <p:notesMasterId r:id="rId21"/>
  </p:notesMasterIdLst>
  <p:sldIdLst>
    <p:sldId id="258" r:id="rId5"/>
    <p:sldId id="273" r:id="rId6"/>
    <p:sldId id="260" r:id="rId7"/>
    <p:sldId id="261" r:id="rId8"/>
    <p:sldId id="259" r:id="rId9"/>
    <p:sldId id="262" r:id="rId10"/>
    <p:sldId id="263" r:id="rId11"/>
    <p:sldId id="272" r:id="rId12"/>
    <p:sldId id="264" r:id="rId13"/>
    <p:sldId id="265" r:id="rId14"/>
    <p:sldId id="266" r:id="rId15"/>
    <p:sldId id="271" r:id="rId16"/>
    <p:sldId id="267" r:id="rId17"/>
    <p:sldId id="268" r:id="rId18"/>
    <p:sldId id="269" r:id="rId19"/>
    <p:sldId id="270" r:id="rId20"/>
  </p:sldIdLst>
  <p:sldSz cx="9144000" cy="6858000" type="screen4x3"/>
  <p:notesSz cx="6858000" cy="9144000"/>
  <p:custDataLst>
    <p:tags r:id="rId22"/>
  </p:custDataLst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A6C"/>
    <a:srgbClr val="FC750E"/>
    <a:srgbClr val="C2113A"/>
    <a:srgbClr val="833E90"/>
    <a:srgbClr val="FC8A0E"/>
    <a:srgbClr val="C0504D"/>
    <a:srgbClr val="FCC00E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87" autoAdjust="0"/>
    <p:restoredTop sz="94660"/>
  </p:normalViewPr>
  <p:slideViewPr>
    <p:cSldViewPr snapToGrid="0" snapToObjects="1">
      <p:cViewPr varScale="1">
        <p:scale>
          <a:sx n="78" d="100"/>
          <a:sy n="78" d="100"/>
        </p:scale>
        <p:origin x="1862" y="58"/>
      </p:cViewPr>
      <p:guideLst>
        <p:guide orient="horz" pos="213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38100">
                <a:solidFill>
                  <a:srgbClr val="F6F8FA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5B5-45CF-BEDF-00F938371D42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38100">
                <a:solidFill>
                  <a:srgbClr val="F6F8FA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5B5-45CF-BEDF-00F938371D42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</c:v>
                </c:pt>
                <c:pt idx="1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5B5-45CF-BEDF-00F938371D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38100">
              <a:solidFill>
                <a:srgbClr val="F6F8FA"/>
              </a:solidFill>
            </a:ln>
          </c:spPr>
          <c:dPt>
            <c:idx val="0"/>
            <c:bubble3D val="0"/>
            <c:spPr>
              <a:solidFill>
                <a:schemeClr val="accent2"/>
              </a:solidFill>
              <a:ln w="38100">
                <a:solidFill>
                  <a:srgbClr val="F6F8FA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5B5-45CF-BEDF-00F938371D42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38100">
                <a:solidFill>
                  <a:srgbClr val="F6F8FA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5B5-45CF-BEDF-00F938371D42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</c:v>
                </c:pt>
                <c:pt idx="1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5B5-45CF-BEDF-00F938371D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38100">
              <a:solidFill>
                <a:srgbClr val="F6F8FA"/>
              </a:solidFill>
            </a:ln>
          </c:spPr>
          <c:dPt>
            <c:idx val="0"/>
            <c:bubble3D val="0"/>
            <c:spPr>
              <a:solidFill>
                <a:schemeClr val="accent4"/>
              </a:solidFill>
              <a:ln w="38100">
                <a:solidFill>
                  <a:srgbClr val="F6F8FA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5B5-45CF-BEDF-00F938371D42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38100">
                <a:solidFill>
                  <a:srgbClr val="F6F8FA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5B5-45CF-BEDF-00F938371D42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0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5B5-45CF-BEDF-00F938371D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38100">
              <a:solidFill>
                <a:srgbClr val="F6F8FA"/>
              </a:solidFill>
            </a:ln>
          </c:spPr>
          <c:dPt>
            <c:idx val="0"/>
            <c:bubble3D val="0"/>
            <c:spPr>
              <a:solidFill>
                <a:schemeClr val="accent5"/>
              </a:solidFill>
              <a:ln w="38100">
                <a:solidFill>
                  <a:srgbClr val="F6F8FA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5B5-45CF-BEDF-00F938371D42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38100">
                <a:solidFill>
                  <a:srgbClr val="F6F8FA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5B5-45CF-BEDF-00F938371D42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</c:v>
                </c:pt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5B5-45CF-BEDF-00F938371D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7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62ADE277-3EFF-48E7-ADE7-F0298EF0BAC1}" type="datetimeFigureOut">
              <a:rPr lang="en-US" altLang="en-US"/>
              <a:pPr>
                <a:defRPr/>
              </a:pPr>
              <a:t>6/16/2019</a:t>
            </a:fld>
            <a:endParaRPr lang="en-US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0DEE75D-FEAA-4EBC-BBF4-62496E66AFD5}" type="slidenum">
              <a:rPr lang="en-US" altLang="en-US"/>
              <a:pPr>
                <a:defRPr/>
              </a:pPr>
              <a:t>‹N°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703829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D1495A-DD81-44F4-9F54-1F39867BF2D9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489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D1495A-DD81-44F4-9F54-1F39867BF2D9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3758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D1495A-DD81-44F4-9F54-1F39867BF2D9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0090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ภาพนิ่ง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h-TH" dirty="0"/>
          </a:p>
        </p:txBody>
      </p:sp>
      <p:sp>
        <p:nvSpPr>
          <p:cNvPr id="4" name="ตัวแทนหมายเลขภาพนิ่ง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8CD501-6BB7-45B6-B183-6435F0E3813A}" type="slidenum">
              <a:rPr lang="th-TH" smtClean="0">
                <a:solidFill>
                  <a:prstClr val="black"/>
                </a:solidFill>
              </a:rPr>
              <a:pPr/>
              <a:t>11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799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2079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1248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692696"/>
            <a:ext cx="8229600" cy="50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kumimoji="0" lang="fr-FR" dirty="0" smtClean="0"/>
              <a:t>Cliquez pour modifier le style du titre</a:t>
            </a:r>
            <a:endParaRPr kumimoji="0"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/>
          <a:lstStyle/>
          <a:p>
            <a:pPr lvl="0" eaLnBrk="1" latinLnBrk="0" hangingPunct="1"/>
            <a:r>
              <a:rPr lang="fr-FR" dirty="0" smtClean="0"/>
              <a:t>Cliquez pour modifier les styles du texte du masque</a:t>
            </a:r>
          </a:p>
          <a:p>
            <a:pPr lvl="1" eaLnBrk="1" latinLnBrk="0" hangingPunct="1"/>
            <a:r>
              <a:rPr lang="fr-FR" dirty="0" smtClean="0"/>
              <a:t>Deuxième niveau</a:t>
            </a:r>
          </a:p>
          <a:p>
            <a:pPr lvl="2" eaLnBrk="1" latinLnBrk="0" hangingPunct="1"/>
            <a:r>
              <a:rPr lang="fr-FR" dirty="0" smtClean="0"/>
              <a:t>Troisième niveau</a:t>
            </a:r>
          </a:p>
          <a:p>
            <a:pPr lvl="3" eaLnBrk="1" latinLnBrk="0" hangingPunct="1"/>
            <a:r>
              <a:rPr lang="fr-FR" dirty="0" smtClean="0"/>
              <a:t>Quatrième niveau</a:t>
            </a:r>
          </a:p>
          <a:p>
            <a:pPr lvl="4" eaLnBrk="1" latinLnBrk="0" hangingPunct="1"/>
            <a:r>
              <a:rPr lang="fr-FR" dirty="0" smtClean="0"/>
              <a:t>Cinquième niveau</a:t>
            </a:r>
            <a:endParaRPr kumimoji="0"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545C96C-53EF-4272-8C6C-B8660C9863EE}" type="datetime1">
              <a:rPr lang="fr-FR">
                <a:solidFill>
                  <a:prstClr val="black"/>
                </a:solidFill>
                <a:ea typeface="ＭＳ Ｐゴシック" panose="020B0600070205080204" pitchFamily="34" charset="-128"/>
              </a:rPr>
              <a:pPr/>
              <a:t>16/06/2019</a:t>
            </a:fld>
            <a:endParaRPr lang="fr-FR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995936" y="6309320"/>
            <a:ext cx="762000" cy="365125"/>
          </a:xfrm>
          <a:prstGeom prst="rect">
            <a:avLst/>
          </a:prstGeom>
        </p:spPr>
        <p:txBody>
          <a:bodyPr/>
          <a:lstStyle/>
          <a:p>
            <a:fld id="{AA646889-9E54-42B1-B90E-3EFD9B1560F7}" type="slidenum">
              <a:rPr lang="fr-FR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0133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ctrTitle" hasCustomPrompt="1"/>
          </p:nvPr>
        </p:nvSpPr>
        <p:spPr>
          <a:xfrm>
            <a:off x="533400" y="1371600"/>
            <a:ext cx="7851648" cy="1828800"/>
          </a:xfrm>
          <a:prstGeom prst="rect">
            <a:avLst/>
          </a:prstGeo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ctr" rtl="0">
              <a:spcBef>
                <a:spcPct val="0"/>
              </a:spcBef>
              <a:buNone/>
              <a:defRPr sz="5600" b="1" baseline="0">
                <a:ln>
                  <a:noFill/>
                </a:ln>
                <a:solidFill>
                  <a:srgbClr val="C00000"/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dirty="0" smtClean="0"/>
              <a:t>Style du titre</a:t>
            </a:r>
            <a:endParaRPr kumimoji="0" lang="en-US" dirty="0"/>
          </a:p>
        </p:txBody>
      </p:sp>
      <p:sp>
        <p:nvSpPr>
          <p:cNvPr id="17" name="Sous-titre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  <a:prstGeom prst="rect">
            <a:avLst/>
          </a:prstGeo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fr-FR" dirty="0" smtClean="0"/>
              <a:t>Cliquez pour modifier le style des sous-titres du masque</a:t>
            </a:r>
            <a:endParaRPr kumimoji="0" lang="en-US" dirty="0"/>
          </a:p>
        </p:txBody>
      </p:sp>
      <p:sp>
        <p:nvSpPr>
          <p:cNvPr id="30" name="Espace réservé de la date 29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BBF5A2-704B-41CE-A1ED-2E8EB5221976}" type="datetime1">
              <a:rPr lang="fr-FR">
                <a:solidFill>
                  <a:prstClr val="black"/>
                </a:solidFill>
                <a:ea typeface="ＭＳ Ｐゴシック" panose="020B0600070205080204" pitchFamily="34" charset="-128"/>
              </a:rPr>
              <a:pPr/>
              <a:t>16/06/2019</a:t>
            </a:fld>
            <a:endParaRPr lang="fr-FR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9" name="Espace réservé du pied de page 18"/>
          <p:cNvSpPr>
            <a:spLocks noGrp="1"/>
          </p:cNvSpPr>
          <p:nvPr>
            <p:ph type="ftr" sz="quarter" idx="11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27" name="Espace réservé du numéro de diapositive 26"/>
          <p:cNvSpPr>
            <a:spLocks noGrp="1"/>
          </p:cNvSpPr>
          <p:nvPr>
            <p:ph type="sldNum" sz="quarter" idx="12"/>
          </p:nvPr>
        </p:nvSpPr>
        <p:spPr>
          <a:xfrm>
            <a:off x="4427984" y="6381328"/>
            <a:ext cx="762000" cy="365125"/>
          </a:xfrm>
          <a:prstGeom prst="rect">
            <a:avLst/>
          </a:prstGeom>
        </p:spPr>
        <p:txBody>
          <a:bodyPr/>
          <a:lstStyle/>
          <a:p>
            <a:fld id="{AA646889-9E54-42B1-B90E-3EFD9B1560F7}" type="slidenum">
              <a:rPr lang="fr-FR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71102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250032" y="397249"/>
            <a:ext cx="8178929" cy="4445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50032" y="790433"/>
            <a:ext cx="8178929" cy="28098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75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endParaRPr lang="id-ID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3784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818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48516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3673" y="327461"/>
            <a:ext cx="323309" cy="3890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5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5631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1399033"/>
            <a:ext cx="9144000" cy="314598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id-ID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250032" y="397249"/>
            <a:ext cx="8178929" cy="4445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pPr lvl="0"/>
            <a:endParaRPr lang="id-ID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50032" y="790433"/>
            <a:ext cx="8178929" cy="28098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75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383220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alpha val="12000"/>
            </a:schemeClr>
          </a:solidFill>
          <a:effectLst/>
        </p:spPr>
        <p:txBody>
          <a:bodyPr lIns="68589" tIns="34295" rIns="68589" bIns="34295">
            <a:normAutofit/>
          </a:bodyPr>
          <a:lstStyle>
            <a:lvl1pPr marL="0" indent="0">
              <a:buNone/>
              <a:defRPr sz="10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+mn-lt"/>
                <a:ea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9457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ชื่อเรื่องและเนื้อห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3673" y="327461"/>
            <a:ext cx="323309" cy="3890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5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1221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3673" y="327461"/>
            <a:ext cx="323309" cy="3890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5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6112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bg>
      <p:bgPr>
        <a:solidFill>
          <a:srgbClr val="F6F8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3673" y="327461"/>
            <a:ext cx="323309" cy="3890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5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4645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emf"/><Relationship Id="rId4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age 18" descr="background-01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33388"/>
            <a:ext cx="9144000" cy="647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Imag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00" y="0"/>
            <a:ext cx="9194800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Image 1" descr="Logo-header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304800"/>
            <a:ext cx="8369300" cy="44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MS PGothic" panose="020B0600070205080204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MS PGothic" panose="020B0600070205080204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MS PGothic" panose="020B0600070205080204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MS PGothic" panose="020B0600070205080204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Image 12" descr="background-02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47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Imag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0925"/>
            <a:ext cx="9144000" cy="42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Image 1" descr="Logo-footer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6375400"/>
            <a:ext cx="8154987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MS PGothic" panose="020B0600070205080204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MS PGothic" panose="020B0600070205080204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MS PGothic" panose="020B0600070205080204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MS PGothic" panose="020B0600070205080204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Image 13" descr="background-01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47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Imag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25400" y="5767388"/>
            <a:ext cx="9194800" cy="1090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Image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6207125"/>
            <a:ext cx="8420100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ZoneTexte 14"/>
          <p:cNvSpPr txBox="1">
            <a:spLocks noChangeArrowheads="1"/>
          </p:cNvSpPr>
          <p:nvPr userDrawn="1"/>
        </p:nvSpPr>
        <p:spPr bwMode="auto">
          <a:xfrm>
            <a:off x="11731625" y="3905250"/>
            <a:ext cx="184150" cy="369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fr-FR" smtClean="0">
              <a:latin typeface="Calibri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Image 12" descr="background-02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47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Image 9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0925"/>
            <a:ext cx="9144000" cy="42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Image 1" descr="Logo-footer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6375400"/>
            <a:ext cx="8154987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2"/>
    </p:custDataLst>
    <p:extLst>
      <p:ext uri="{BB962C8B-B14F-4D97-AF65-F5344CB8AC3E}">
        <p14:creationId xmlns:p14="http://schemas.microsoft.com/office/powerpoint/2010/main" val="2786107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.xml"/><Relationship Id="rId1" Type="http://schemas.openxmlformats.org/officeDocument/2006/relationships/tags" Target="../tags/tag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jpg"/><Relationship Id="rId2" Type="http://schemas.openxmlformats.org/officeDocument/2006/relationships/tags" Target="../tags/tag1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8.emf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re 15"/>
          <p:cNvSpPr txBox="1">
            <a:spLocks/>
          </p:cNvSpPr>
          <p:nvPr/>
        </p:nvSpPr>
        <p:spPr bwMode="auto">
          <a:xfrm>
            <a:off x="277813" y="3178175"/>
            <a:ext cx="8588375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fr-FR" altLang="en-US" sz="2400" dirty="0">
                <a:solidFill>
                  <a:srgbClr val="FFFFFF"/>
                </a:solidFill>
              </a:rPr>
              <a:t>FONCTIONNEMENT EFFICACE DANS UNE EQUIPE</a:t>
            </a:r>
          </a:p>
        </p:txBody>
      </p:sp>
      <p:sp>
        <p:nvSpPr>
          <p:cNvPr id="4" name="Titre 15"/>
          <p:cNvSpPr txBox="1">
            <a:spLocks/>
          </p:cNvSpPr>
          <p:nvPr/>
        </p:nvSpPr>
        <p:spPr>
          <a:xfrm>
            <a:off x="457200" y="3751263"/>
            <a:ext cx="5181600" cy="88423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ct val="110000"/>
              </a:lnSpc>
              <a:spcAft>
                <a:spcPts val="0"/>
              </a:spcAft>
              <a:defRPr/>
            </a:pP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500"/>
            <a:ext cx="1270000" cy="2794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algn="ctr"/>
            <a:fld id="{AAB11E56-DE94-417C-84CF-E79946480E00}" type="slidenum">
              <a:rPr lang="fr-FR" sz="1200" smtClean="0">
                <a:latin typeface="Gill Sans" panose="020B0604020202020204"/>
              </a:rPr>
              <a:pPr algn="ctr"/>
              <a:t>1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 dirty="0" smtClean="0">
              <a:latin typeface="Gill Sans" panose="020B0604020202020204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36"/>
          <p:cNvSpPr/>
          <p:nvPr/>
        </p:nvSpPr>
        <p:spPr>
          <a:xfrm>
            <a:off x="1984285" y="5164947"/>
            <a:ext cx="350075" cy="350075"/>
          </a:xfrm>
          <a:prstGeom prst="ellipse">
            <a:avLst/>
          </a:prstGeom>
          <a:solidFill>
            <a:sysClr val="windowText" lastClr="000000">
              <a:lumMod val="95000"/>
              <a:lumOff val="5000"/>
              <a:alpha val="1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  <a:latin typeface="Lato Light"/>
              <a:ea typeface="ＭＳ Ｐゴシック" panose="020B0600070205080204" pitchFamily="34" charset="-128"/>
            </a:endParaRPr>
          </a:p>
        </p:txBody>
      </p:sp>
      <p:grpSp>
        <p:nvGrpSpPr>
          <p:cNvPr id="16" name="Group 8"/>
          <p:cNvGrpSpPr/>
          <p:nvPr/>
        </p:nvGrpSpPr>
        <p:grpSpPr>
          <a:xfrm>
            <a:off x="2072546" y="5270584"/>
            <a:ext cx="3249267" cy="171500"/>
            <a:chOff x="5679999" y="3747744"/>
            <a:chExt cx="4332356" cy="228666"/>
          </a:xfrm>
        </p:grpSpPr>
        <p:sp>
          <p:nvSpPr>
            <p:cNvPr id="26" name="Rounded Rectangle 39"/>
            <p:cNvSpPr/>
            <p:nvPr/>
          </p:nvSpPr>
          <p:spPr>
            <a:xfrm>
              <a:off x="5679999" y="3747744"/>
              <a:ext cx="4332356" cy="228666"/>
            </a:xfrm>
            <a:prstGeom prst="roundRect">
              <a:avLst>
                <a:gd name="adj" fmla="val 50000"/>
              </a:avLst>
            </a:prstGeom>
            <a:solidFill>
              <a:srgbClr val="495D6B">
                <a:alpha val="9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id-ID" sz="1350" kern="0">
                <a:solidFill>
                  <a:prstClr val="white"/>
                </a:solidFill>
                <a:latin typeface="Lato Light"/>
                <a:ea typeface="ＭＳ Ｐゴシック" panose="020B0600070205080204" pitchFamily="34" charset="-128"/>
              </a:endParaRPr>
            </a:p>
          </p:txBody>
        </p:sp>
        <p:sp>
          <p:nvSpPr>
            <p:cNvPr id="27" name="Oval 108"/>
            <p:cNvSpPr>
              <a:spLocks noChangeAspect="1"/>
            </p:cNvSpPr>
            <p:nvPr/>
          </p:nvSpPr>
          <p:spPr>
            <a:xfrm>
              <a:off x="5751310" y="3823597"/>
              <a:ext cx="79200" cy="7920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prstClr val="white"/>
                </a:solidFill>
                <a:latin typeface="Lato Light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5" name="Oval 109"/>
          <p:cNvSpPr>
            <a:spLocks noChangeAspect="1"/>
          </p:cNvSpPr>
          <p:nvPr/>
        </p:nvSpPr>
        <p:spPr>
          <a:xfrm>
            <a:off x="3950304" y="4898685"/>
            <a:ext cx="59400" cy="5940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  <a:latin typeface="Lato Light"/>
              <a:ea typeface="ＭＳ Ｐゴシック" panose="020B0600070205080204" pitchFamily="34" charset="-128"/>
            </a:endParaRPr>
          </a:p>
        </p:txBody>
      </p:sp>
      <p:grpSp>
        <p:nvGrpSpPr>
          <p:cNvPr id="18" name="Group 5"/>
          <p:cNvGrpSpPr/>
          <p:nvPr/>
        </p:nvGrpSpPr>
        <p:grpSpPr>
          <a:xfrm>
            <a:off x="5150917" y="4965350"/>
            <a:ext cx="992774" cy="604853"/>
            <a:chOff x="9754915" y="3340366"/>
            <a:chExt cx="1323699" cy="806471"/>
          </a:xfrm>
          <a:solidFill>
            <a:srgbClr val="0564B8">
              <a:alpha val="90000"/>
            </a:srgbClr>
          </a:solidFill>
        </p:grpSpPr>
        <p:grpSp>
          <p:nvGrpSpPr>
            <p:cNvPr id="19" name="Group 43"/>
            <p:cNvGrpSpPr/>
            <p:nvPr/>
          </p:nvGrpSpPr>
          <p:grpSpPr>
            <a:xfrm>
              <a:off x="9754915" y="3340366"/>
              <a:ext cx="1323699" cy="806471"/>
              <a:chOff x="9754915" y="3120910"/>
              <a:chExt cx="1323699" cy="806471"/>
            </a:xfrm>
            <a:grpFill/>
          </p:grpSpPr>
          <p:sp>
            <p:nvSpPr>
              <p:cNvPr id="21" name="Rounded Rectangle 45"/>
              <p:cNvSpPr/>
              <p:nvPr/>
            </p:nvSpPr>
            <p:spPr>
              <a:xfrm>
                <a:off x="9754915" y="3528287"/>
                <a:ext cx="1253401" cy="230909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id-ID" sz="1350" kern="0">
                  <a:solidFill>
                    <a:prstClr val="white"/>
                  </a:solidFill>
                  <a:latin typeface="Lato Light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22" name="Rounded Rectangle 46"/>
              <p:cNvSpPr/>
              <p:nvPr/>
            </p:nvSpPr>
            <p:spPr>
              <a:xfrm rot="18900000">
                <a:off x="10388589" y="3696472"/>
                <a:ext cx="690025" cy="230909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id-ID" sz="1350" kern="0">
                  <a:solidFill>
                    <a:prstClr val="white"/>
                  </a:solidFill>
                  <a:latin typeface="Lato Light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23" name="Rounded Rectangle 51"/>
              <p:cNvSpPr/>
              <p:nvPr/>
            </p:nvSpPr>
            <p:spPr>
              <a:xfrm rot="2700000">
                <a:off x="10388588" y="3350468"/>
                <a:ext cx="690025" cy="230909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id-ID" sz="1350" kern="0">
                  <a:solidFill>
                    <a:prstClr val="white"/>
                  </a:solidFill>
                  <a:latin typeface="Lato Light"/>
                  <a:ea typeface="ＭＳ Ｐゴシック" panose="020B0600070205080204" pitchFamily="34" charset="-128"/>
                </a:endParaRPr>
              </a:p>
            </p:txBody>
          </p:sp>
        </p:grpSp>
        <p:sp>
          <p:nvSpPr>
            <p:cNvPr id="20" name="Oval 110"/>
            <p:cNvSpPr>
              <a:spLocks noChangeAspect="1"/>
            </p:cNvSpPr>
            <p:nvPr/>
          </p:nvSpPr>
          <p:spPr>
            <a:xfrm>
              <a:off x="9832895" y="3823597"/>
              <a:ext cx="79200" cy="79200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prstClr val="white"/>
                </a:solidFill>
                <a:latin typeface="Lato Light"/>
                <a:ea typeface="ＭＳ Ｐゴシック" panose="020B0600070205080204" pitchFamily="34" charset="-128"/>
              </a:endParaRPr>
            </a:p>
          </p:txBody>
        </p:sp>
      </p:grpSp>
      <p:grpSp>
        <p:nvGrpSpPr>
          <p:cNvPr id="34" name="Group 8"/>
          <p:cNvGrpSpPr/>
          <p:nvPr/>
        </p:nvGrpSpPr>
        <p:grpSpPr>
          <a:xfrm rot="16200000">
            <a:off x="968453" y="4162380"/>
            <a:ext cx="2348396" cy="173182"/>
            <a:chOff x="5679999" y="3747743"/>
            <a:chExt cx="3131195" cy="230909"/>
          </a:xfrm>
        </p:grpSpPr>
        <p:sp>
          <p:nvSpPr>
            <p:cNvPr id="44" name="Rounded Rectangle 39"/>
            <p:cNvSpPr/>
            <p:nvPr/>
          </p:nvSpPr>
          <p:spPr>
            <a:xfrm>
              <a:off x="5679999" y="3747743"/>
              <a:ext cx="3131195" cy="230909"/>
            </a:xfrm>
            <a:prstGeom prst="roundRect">
              <a:avLst>
                <a:gd name="adj" fmla="val 50000"/>
              </a:avLst>
            </a:prstGeom>
            <a:solidFill>
              <a:srgbClr val="495D6B">
                <a:alpha val="9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id-ID" sz="1350" kern="0">
                <a:solidFill>
                  <a:prstClr val="white"/>
                </a:solidFill>
                <a:latin typeface="Lato Light"/>
                <a:ea typeface="ＭＳ Ｐゴシック" panose="020B0600070205080204" pitchFamily="34" charset="-128"/>
              </a:endParaRPr>
            </a:p>
          </p:txBody>
        </p:sp>
        <p:sp>
          <p:nvSpPr>
            <p:cNvPr id="45" name="Oval 108"/>
            <p:cNvSpPr>
              <a:spLocks noChangeAspect="1"/>
            </p:cNvSpPr>
            <p:nvPr/>
          </p:nvSpPr>
          <p:spPr>
            <a:xfrm>
              <a:off x="5751310" y="3823597"/>
              <a:ext cx="79200" cy="7920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prstClr val="white"/>
                </a:solidFill>
                <a:latin typeface="Lato Light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42" name="Rounded Rectangle 41"/>
          <p:cNvSpPr/>
          <p:nvPr/>
        </p:nvSpPr>
        <p:spPr>
          <a:xfrm rot="16200000">
            <a:off x="1437447" y="2732352"/>
            <a:ext cx="1407094" cy="176500"/>
          </a:xfrm>
          <a:prstGeom prst="roundRect">
            <a:avLst>
              <a:gd name="adj" fmla="val 50000"/>
            </a:avLst>
          </a:prstGeom>
          <a:solidFill>
            <a:srgbClr val="32424F">
              <a:alpha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id-ID" sz="1350" kern="0">
              <a:solidFill>
                <a:prstClr val="white"/>
              </a:solidFill>
              <a:latin typeface="Lato Light"/>
              <a:ea typeface="ＭＳ Ｐゴシック" panose="020B0600070205080204" pitchFamily="34" charset="-128"/>
            </a:endParaRPr>
          </a:p>
        </p:txBody>
      </p:sp>
      <p:sp>
        <p:nvSpPr>
          <p:cNvPr id="43" name="Oval 109"/>
          <p:cNvSpPr>
            <a:spLocks noChangeAspect="1"/>
          </p:cNvSpPr>
          <p:nvPr/>
        </p:nvSpPr>
        <p:spPr>
          <a:xfrm rot="16200000">
            <a:off x="2126029" y="3375388"/>
            <a:ext cx="59400" cy="5940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  <a:latin typeface="Lato Light"/>
              <a:ea typeface="ＭＳ Ｐゴシック" panose="020B0600070205080204" pitchFamily="34" charset="-128"/>
            </a:endParaRPr>
          </a:p>
        </p:txBody>
      </p:sp>
      <p:sp>
        <p:nvSpPr>
          <p:cNvPr id="47" name="Rounded Rectangle 89"/>
          <p:cNvSpPr/>
          <p:nvPr/>
        </p:nvSpPr>
        <p:spPr>
          <a:xfrm rot="5400000">
            <a:off x="2038278" y="3347469"/>
            <a:ext cx="3908562" cy="34289"/>
          </a:xfrm>
          <a:prstGeom prst="roundRect">
            <a:avLst>
              <a:gd name="adj" fmla="val 50000"/>
            </a:avLst>
          </a:prstGeom>
          <a:solidFill>
            <a:srgbClr val="0564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Lato Light"/>
              <a:ea typeface="ＭＳ Ｐゴシック" panose="020B0600070205080204" pitchFamily="34" charset="-128"/>
            </a:endParaRPr>
          </a:p>
        </p:txBody>
      </p:sp>
      <p:grpSp>
        <p:nvGrpSpPr>
          <p:cNvPr id="36" name="Group 5"/>
          <p:cNvGrpSpPr/>
          <p:nvPr/>
        </p:nvGrpSpPr>
        <p:grpSpPr>
          <a:xfrm rot="16200000">
            <a:off x="1559673" y="1551569"/>
            <a:ext cx="992774" cy="604853"/>
            <a:chOff x="9754915" y="3340366"/>
            <a:chExt cx="1323699" cy="806471"/>
          </a:xfrm>
          <a:solidFill>
            <a:srgbClr val="0564B8">
              <a:alpha val="90000"/>
            </a:srgbClr>
          </a:solidFill>
        </p:grpSpPr>
        <p:grpSp>
          <p:nvGrpSpPr>
            <p:cNvPr id="37" name="Group 43"/>
            <p:cNvGrpSpPr/>
            <p:nvPr/>
          </p:nvGrpSpPr>
          <p:grpSpPr>
            <a:xfrm>
              <a:off x="9754915" y="3340366"/>
              <a:ext cx="1323699" cy="806471"/>
              <a:chOff x="9754915" y="3120910"/>
              <a:chExt cx="1323699" cy="806471"/>
            </a:xfrm>
            <a:grpFill/>
          </p:grpSpPr>
          <p:sp>
            <p:nvSpPr>
              <p:cNvPr id="39" name="Rounded Rectangle 45"/>
              <p:cNvSpPr/>
              <p:nvPr/>
            </p:nvSpPr>
            <p:spPr>
              <a:xfrm>
                <a:off x="9754915" y="3528287"/>
                <a:ext cx="1253401" cy="230909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id-ID" sz="1350" kern="0">
                  <a:solidFill>
                    <a:prstClr val="white"/>
                  </a:solidFill>
                  <a:latin typeface="Lato Light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" name="Rounded Rectangle 46"/>
              <p:cNvSpPr/>
              <p:nvPr/>
            </p:nvSpPr>
            <p:spPr>
              <a:xfrm rot="18900000">
                <a:off x="10388589" y="3696472"/>
                <a:ext cx="690025" cy="230909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id-ID" sz="1350" kern="0">
                  <a:solidFill>
                    <a:prstClr val="white"/>
                  </a:solidFill>
                  <a:latin typeface="Lato Light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" name="Rounded Rectangle 51"/>
              <p:cNvSpPr/>
              <p:nvPr/>
            </p:nvSpPr>
            <p:spPr>
              <a:xfrm rot="2700000">
                <a:off x="10388588" y="3350468"/>
                <a:ext cx="690025" cy="230909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id-ID" sz="1350" kern="0">
                  <a:solidFill>
                    <a:prstClr val="white"/>
                  </a:solidFill>
                  <a:latin typeface="Lato Light"/>
                  <a:ea typeface="ＭＳ Ｐゴシック" panose="020B0600070205080204" pitchFamily="34" charset="-128"/>
                </a:endParaRPr>
              </a:p>
            </p:txBody>
          </p:sp>
        </p:grpSp>
        <p:sp>
          <p:nvSpPr>
            <p:cNvPr id="38" name="Oval 110"/>
            <p:cNvSpPr>
              <a:spLocks noChangeAspect="1"/>
            </p:cNvSpPr>
            <p:nvPr/>
          </p:nvSpPr>
          <p:spPr>
            <a:xfrm>
              <a:off x="9832895" y="3823597"/>
              <a:ext cx="79200" cy="79200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prstClr val="white"/>
                </a:solidFill>
                <a:latin typeface="Lato Light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4" name="Rounded Rectangle 41"/>
          <p:cNvSpPr/>
          <p:nvPr/>
        </p:nvSpPr>
        <p:spPr>
          <a:xfrm>
            <a:off x="3448599" y="5271107"/>
            <a:ext cx="1062810" cy="173182"/>
          </a:xfrm>
          <a:prstGeom prst="roundRect">
            <a:avLst>
              <a:gd name="adj" fmla="val 50000"/>
            </a:avLst>
          </a:prstGeom>
          <a:solidFill>
            <a:srgbClr val="32424F">
              <a:alpha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id-ID" sz="1350" kern="0">
              <a:solidFill>
                <a:prstClr val="white"/>
              </a:solidFill>
              <a:latin typeface="Lato Light"/>
              <a:ea typeface="ＭＳ Ｐゴシック" panose="020B0600070205080204" pitchFamily="34" charset="-128"/>
            </a:endParaRPr>
          </a:p>
        </p:txBody>
      </p:sp>
      <p:sp>
        <p:nvSpPr>
          <p:cNvPr id="10" name="Oval 38"/>
          <p:cNvSpPr/>
          <p:nvPr/>
        </p:nvSpPr>
        <p:spPr>
          <a:xfrm>
            <a:off x="3809331" y="5177154"/>
            <a:ext cx="350075" cy="350075"/>
          </a:xfrm>
          <a:prstGeom prst="ellipse">
            <a:avLst/>
          </a:prstGeom>
          <a:solidFill>
            <a:sysClr val="windowText" lastClr="000000">
              <a:lumMod val="95000"/>
              <a:lumOff val="5000"/>
              <a:alpha val="1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  <a:latin typeface="Lato Light"/>
              <a:ea typeface="ＭＳ Ｐゴシック" panose="020B0600070205080204" pitchFamily="34" charset="-128"/>
            </a:endParaRPr>
          </a:p>
        </p:txBody>
      </p:sp>
      <p:sp>
        <p:nvSpPr>
          <p:cNvPr id="48" name="Oval 109"/>
          <p:cNvSpPr>
            <a:spLocks noChangeAspect="1"/>
          </p:cNvSpPr>
          <p:nvPr/>
        </p:nvSpPr>
        <p:spPr>
          <a:xfrm rot="16200000" flipH="1" flipV="1">
            <a:off x="3950304" y="5291671"/>
            <a:ext cx="75762" cy="75762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  <a:latin typeface="Lato Light"/>
              <a:ea typeface="ＭＳ Ｐゴシック" panose="020B0600070205080204" pitchFamily="34" charset="-128"/>
            </a:endParaRPr>
          </a:p>
        </p:txBody>
      </p:sp>
      <p:sp>
        <p:nvSpPr>
          <p:cNvPr id="55" name="Oval 19"/>
          <p:cNvSpPr>
            <a:spLocks noChangeAspect="1" noChangeArrowheads="1"/>
          </p:cNvSpPr>
          <p:nvPr/>
        </p:nvSpPr>
        <p:spPr bwMode="auto">
          <a:xfrm>
            <a:off x="4703774" y="1833094"/>
            <a:ext cx="777243" cy="775689"/>
          </a:xfrm>
          <a:prstGeom prst="ellipse">
            <a:avLst/>
          </a:prstGeom>
          <a:solidFill>
            <a:schemeClr val="accent2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7200" dirty="0">
              <a:solidFill>
                <a:prstClr val="white"/>
              </a:solidFill>
              <a:latin typeface="FontAwesome" pitchFamily="2" charset="0"/>
              <a:ea typeface="ＭＳ Ｐゴシック" panose="020B0600070205080204" pitchFamily="34" charset="-128"/>
            </a:endParaRPr>
          </a:p>
        </p:txBody>
      </p:sp>
      <p:sp>
        <p:nvSpPr>
          <p:cNvPr id="54" name="ZoneTexte 53"/>
          <p:cNvSpPr txBox="1"/>
          <p:nvPr/>
        </p:nvSpPr>
        <p:spPr>
          <a:xfrm>
            <a:off x="4866734" y="1745888"/>
            <a:ext cx="4716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000" dirty="0">
                <a:solidFill>
                  <a:prstClr val="white"/>
                </a:solidFill>
                <a:latin typeface="FontAwesome" pitchFamily="2" charset="0"/>
                <a:ea typeface="ＭＳ Ｐゴシック" panose="020B0600070205080204" pitchFamily="34" charset="-128"/>
              </a:rPr>
              <a:t>4</a:t>
            </a:r>
          </a:p>
        </p:txBody>
      </p:sp>
      <p:sp>
        <p:nvSpPr>
          <p:cNvPr id="57" name="Oval 19"/>
          <p:cNvSpPr>
            <a:spLocks noChangeAspect="1" noChangeArrowheads="1"/>
          </p:cNvSpPr>
          <p:nvPr/>
        </p:nvSpPr>
        <p:spPr bwMode="auto">
          <a:xfrm>
            <a:off x="2606504" y="1925920"/>
            <a:ext cx="777243" cy="775689"/>
          </a:xfrm>
          <a:prstGeom prst="ellipse">
            <a:avLst/>
          </a:prstGeom>
          <a:solidFill>
            <a:srgbClr val="99AEBA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6000" dirty="0">
                <a:solidFill>
                  <a:prstClr val="white"/>
                </a:solidFill>
                <a:latin typeface="FontAwesome" pitchFamily="2" charset="0"/>
                <a:ea typeface="ＭＳ Ｐゴシック" panose="020B0600070205080204" pitchFamily="34" charset="-128"/>
              </a:rPr>
              <a:t>3</a:t>
            </a:r>
            <a:endParaRPr lang="en-US" sz="7200" dirty="0">
              <a:solidFill>
                <a:prstClr val="white"/>
              </a:solidFill>
              <a:latin typeface="FontAwesome" pitchFamily="2" charset="0"/>
              <a:ea typeface="ＭＳ Ｐゴシック" panose="020B0600070205080204" pitchFamily="34" charset="-128"/>
            </a:endParaRPr>
          </a:p>
        </p:txBody>
      </p:sp>
      <p:sp>
        <p:nvSpPr>
          <p:cNvPr id="58" name="Oval 19"/>
          <p:cNvSpPr>
            <a:spLocks noChangeAspect="1" noChangeArrowheads="1"/>
          </p:cNvSpPr>
          <p:nvPr/>
        </p:nvSpPr>
        <p:spPr bwMode="auto">
          <a:xfrm>
            <a:off x="4704588" y="3794049"/>
            <a:ext cx="777243" cy="775689"/>
          </a:xfrm>
          <a:prstGeom prst="ellipse">
            <a:avLst/>
          </a:prstGeom>
          <a:solidFill>
            <a:srgbClr val="00B050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6000" dirty="0">
                <a:solidFill>
                  <a:prstClr val="white"/>
                </a:solidFill>
                <a:latin typeface="FontAwesome" pitchFamily="2" charset="0"/>
                <a:ea typeface="ＭＳ Ｐゴシック" panose="020B0600070205080204" pitchFamily="34" charset="-128"/>
              </a:rPr>
              <a:t>2</a:t>
            </a:r>
          </a:p>
        </p:txBody>
      </p:sp>
      <p:sp>
        <p:nvSpPr>
          <p:cNvPr id="59" name="Oval 19"/>
          <p:cNvSpPr>
            <a:spLocks noChangeAspect="1" noChangeArrowheads="1"/>
          </p:cNvSpPr>
          <p:nvPr/>
        </p:nvSpPr>
        <p:spPr bwMode="auto">
          <a:xfrm>
            <a:off x="2660291" y="3799577"/>
            <a:ext cx="777243" cy="775689"/>
          </a:xfrm>
          <a:prstGeom prst="ellipse">
            <a:avLst/>
          </a:prstGeom>
          <a:solidFill>
            <a:srgbClr val="FF0000"/>
          </a:solidFill>
          <a:ln>
            <a:noFill/>
          </a:ln>
          <a:ex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6000" dirty="0">
                <a:solidFill>
                  <a:prstClr val="white"/>
                </a:solidFill>
                <a:latin typeface="FontAwesome" pitchFamily="2" charset="0"/>
                <a:ea typeface="ＭＳ Ｐゴシック" panose="020B0600070205080204" pitchFamily="34" charset="-128"/>
              </a:rPr>
              <a:t>1</a:t>
            </a:r>
          </a:p>
        </p:txBody>
      </p:sp>
      <p:sp>
        <p:nvSpPr>
          <p:cNvPr id="60" name="Rounded Rectangle 89"/>
          <p:cNvSpPr/>
          <p:nvPr/>
        </p:nvSpPr>
        <p:spPr>
          <a:xfrm rot="10800000">
            <a:off x="2185429" y="3373756"/>
            <a:ext cx="3944507" cy="34289"/>
          </a:xfrm>
          <a:prstGeom prst="roundRect">
            <a:avLst>
              <a:gd name="adj" fmla="val 50000"/>
            </a:avLst>
          </a:prstGeom>
          <a:solidFill>
            <a:srgbClr val="0564B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Lato Light"/>
              <a:ea typeface="ＭＳ Ｐゴシック" panose="020B0600070205080204" pitchFamily="34" charset="-128"/>
            </a:endParaRPr>
          </a:p>
        </p:txBody>
      </p:sp>
      <p:sp>
        <p:nvSpPr>
          <p:cNvPr id="61" name="Oval 38"/>
          <p:cNvSpPr/>
          <p:nvPr/>
        </p:nvSpPr>
        <p:spPr>
          <a:xfrm>
            <a:off x="1973411" y="3234894"/>
            <a:ext cx="350075" cy="350075"/>
          </a:xfrm>
          <a:prstGeom prst="ellipse">
            <a:avLst/>
          </a:prstGeom>
          <a:solidFill>
            <a:sysClr val="windowText" lastClr="000000">
              <a:lumMod val="95000"/>
              <a:lumOff val="5000"/>
              <a:alpha val="1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 dirty="0">
              <a:solidFill>
                <a:prstClr val="white"/>
              </a:solidFill>
              <a:latin typeface="Lato Light"/>
              <a:ea typeface="ＭＳ Ｐゴシック" panose="020B0600070205080204" pitchFamily="34" charset="-128"/>
            </a:endParaRPr>
          </a:p>
        </p:txBody>
      </p:sp>
      <p:sp>
        <p:nvSpPr>
          <p:cNvPr id="35" name="Espace réservé du texte 2"/>
          <p:cNvSpPr txBox="1">
            <a:spLocks/>
          </p:cNvSpPr>
          <p:nvPr/>
        </p:nvSpPr>
        <p:spPr>
          <a:xfrm>
            <a:off x="304799" y="266513"/>
            <a:ext cx="8534400" cy="692337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800" b="1" dirty="0" smtClean="0">
                <a:solidFill>
                  <a:srgbClr val="C2113A"/>
                </a:solidFill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LES MÉTHODES DE PERFORMANCE</a:t>
            </a:r>
            <a:endParaRPr lang="en-US" sz="1800" b="1" dirty="0">
              <a:solidFill>
                <a:srgbClr val="C2113A"/>
              </a:solidFill>
              <a:latin typeface="Gill Sans" panose="020B0604020202020204"/>
              <a:ea typeface="Calibri" panose="020F0502020204030204" pitchFamily="34" charset="0"/>
              <a:cs typeface="Helvetica Neue" panose="02000806000000020004" pitchFamily="50"/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2064200" y="1035453"/>
            <a:ext cx="2786082" cy="256480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P</a:t>
            </a:r>
            <a:r>
              <a:rPr lang="fr-FR" sz="2000" b="1" dirty="0" smtClean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erception</a:t>
            </a:r>
            <a:endParaRPr lang="fr-FR" sz="2000" b="1" dirty="0">
              <a:solidFill>
                <a:srgbClr val="17375E"/>
              </a:solidFill>
              <a:latin typeface="Gill Sans" panose="020B0604020202020204"/>
              <a:ea typeface="ＭＳ Ｐゴシック" panose="020B0600070205080204" pitchFamily="34" charset="-128"/>
            </a:endParaRPr>
          </a:p>
        </p:txBody>
      </p:sp>
      <p:sp>
        <p:nvSpPr>
          <p:cNvPr id="49" name="ZoneTexte 48"/>
          <p:cNvSpPr txBox="1"/>
          <p:nvPr/>
        </p:nvSpPr>
        <p:spPr>
          <a:xfrm>
            <a:off x="6129936" y="5213640"/>
            <a:ext cx="2786082" cy="256480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Performance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ABDCCE5C-ED65-47E9-9BBD-5AE2CE2B6297}" type="slidenum">
              <a:rPr lang="fr-FR" sz="1200" smtClean="0">
                <a:latin typeface="Gill Sans" panose="020B0604020202020204"/>
              </a:rPr>
              <a:pPr algn="ctr"/>
              <a:t>10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8130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6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กลุ่ม 20"/>
          <p:cNvGrpSpPr/>
          <p:nvPr/>
        </p:nvGrpSpPr>
        <p:grpSpPr>
          <a:xfrm>
            <a:off x="1920868" y="1410416"/>
            <a:ext cx="2235948" cy="2105156"/>
            <a:chOff x="7159243" y="2719122"/>
            <a:chExt cx="5209102" cy="4904395"/>
          </a:xfrm>
        </p:grpSpPr>
        <p:grpSp>
          <p:nvGrpSpPr>
            <p:cNvPr id="17" name="กลุ่ม 16"/>
            <p:cNvGrpSpPr/>
            <p:nvPr/>
          </p:nvGrpSpPr>
          <p:grpSpPr>
            <a:xfrm>
              <a:off x="7361238" y="2719122"/>
              <a:ext cx="4875063" cy="4755240"/>
              <a:chOff x="8021639" y="2719122"/>
              <a:chExt cx="4875063" cy="4755240"/>
            </a:xfrm>
          </p:grpSpPr>
          <p:sp>
            <p:nvSpPr>
              <p:cNvPr id="6" name="Rectangle 8"/>
              <p:cNvSpPr>
                <a:spLocks noChangeArrowheads="1"/>
              </p:cNvSpPr>
              <p:nvPr/>
            </p:nvSpPr>
            <p:spPr bwMode="auto">
              <a:xfrm>
                <a:off x="8021639" y="4855303"/>
                <a:ext cx="4870448" cy="2619059"/>
              </a:xfrm>
              <a:prstGeom prst="rect">
                <a:avLst/>
              </a:prstGeom>
              <a:solidFill>
                <a:srgbClr val="DDDB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pPr defTabSz="814952"/>
                <a:endParaRPr lang="th-TH" sz="2513">
                  <a:solidFill>
                    <a:prstClr val="black"/>
                  </a:solidFill>
                  <a:latin typeface="Gill Sans" panose="020B0604020202020204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7" name="Freeform 9"/>
              <p:cNvSpPr>
                <a:spLocks/>
              </p:cNvSpPr>
              <p:nvPr/>
            </p:nvSpPr>
            <p:spPr bwMode="auto">
              <a:xfrm>
                <a:off x="8026252" y="2719122"/>
                <a:ext cx="4870450" cy="2171699"/>
              </a:xfrm>
              <a:custGeom>
                <a:avLst/>
                <a:gdLst>
                  <a:gd name="T0" fmla="*/ 1895 w 3068"/>
                  <a:gd name="T1" fmla="*/ 625 h 1368"/>
                  <a:gd name="T2" fmla="*/ 2384 w 3068"/>
                  <a:gd name="T3" fmla="*/ 0 h 1368"/>
                  <a:gd name="T4" fmla="*/ 2872 w 3068"/>
                  <a:gd name="T5" fmla="*/ 625 h 1368"/>
                  <a:gd name="T6" fmla="*/ 3068 w 3068"/>
                  <a:gd name="T7" fmla="*/ 625 h 1368"/>
                  <a:gd name="T8" fmla="*/ 3068 w 3068"/>
                  <a:gd name="T9" fmla="*/ 1368 h 1368"/>
                  <a:gd name="T10" fmla="*/ 0 w 3068"/>
                  <a:gd name="T11" fmla="*/ 1368 h 1368"/>
                  <a:gd name="T12" fmla="*/ 0 w 3068"/>
                  <a:gd name="T13" fmla="*/ 625 h 1368"/>
                  <a:gd name="T14" fmla="*/ 1895 w 3068"/>
                  <a:gd name="T15" fmla="*/ 625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68" h="1368">
                    <a:moveTo>
                      <a:pt x="1895" y="625"/>
                    </a:moveTo>
                    <a:lnTo>
                      <a:pt x="2384" y="0"/>
                    </a:lnTo>
                    <a:lnTo>
                      <a:pt x="2872" y="625"/>
                    </a:lnTo>
                    <a:lnTo>
                      <a:pt x="3068" y="625"/>
                    </a:lnTo>
                    <a:lnTo>
                      <a:pt x="3068" y="1368"/>
                    </a:lnTo>
                    <a:lnTo>
                      <a:pt x="0" y="1368"/>
                    </a:lnTo>
                    <a:lnTo>
                      <a:pt x="0" y="625"/>
                    </a:lnTo>
                    <a:lnTo>
                      <a:pt x="1895" y="625"/>
                    </a:lnTo>
                    <a:close/>
                  </a:path>
                </a:pathLst>
              </a:custGeom>
              <a:solidFill>
                <a:srgbClr val="EB535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pPr defTabSz="814952"/>
                <a:endParaRPr lang="th-TH" sz="2513">
                  <a:solidFill>
                    <a:srgbClr val="EB5356"/>
                  </a:solidFill>
                  <a:latin typeface="Gill Sans" panose="020B0604020202020204"/>
                  <a:ea typeface="ＭＳ Ｐゴシック" panose="020B0600070205080204" pitchFamily="34" charset="-128"/>
                </a:endParaRPr>
              </a:p>
            </p:txBody>
          </p:sp>
        </p:grpSp>
        <p:sp>
          <p:nvSpPr>
            <p:cNvPr id="63" name="TextBox 62"/>
            <p:cNvSpPr txBox="1"/>
            <p:nvPr/>
          </p:nvSpPr>
          <p:spPr>
            <a:xfrm>
              <a:off x="7159243" y="4848648"/>
              <a:ext cx="5209102" cy="2774869"/>
            </a:xfrm>
            <a:prstGeom prst="rect">
              <a:avLst/>
            </a:prstGeom>
            <a:noFill/>
          </p:spPr>
          <p:txBody>
            <a:bodyPr wrap="square" lIns="82283" tIns="41141" rIns="82283" bIns="41141" rtlCol="0">
              <a:spAutoFit/>
            </a:bodyPr>
            <a:lstStyle/>
            <a:p>
              <a:pPr algn="ctr" defTabSz="814952"/>
              <a:r>
                <a:rPr lang="fr-FR" sz="12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La peur, la dépression, la victimisation, l'isolement, la bureaucratie. La personne a fait son travail juste parce qu'il est écrit dans la description du poste</a:t>
              </a:r>
              <a:endParaRPr lang="en-US" sz="12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Lato" pitchFamily="34" charset="0"/>
                <a:cs typeface="Lato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 bwMode="auto">
            <a:xfrm>
              <a:off x="8581666" y="3856061"/>
              <a:ext cx="2573838" cy="75288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685663">
                <a:defRPr/>
              </a:pPr>
              <a:r>
                <a:rPr lang="en-US" sz="1500" b="1" dirty="0">
                  <a:solidFill>
                    <a:prstClr val="white"/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La victime </a:t>
              </a:r>
              <a:endParaRPr lang="id-ID" sz="1500" b="1" dirty="0">
                <a:solidFill>
                  <a:prstClr val="white"/>
                </a:solidFill>
                <a:latin typeface="Gill Sans" panose="020B0604020202020204"/>
                <a:ea typeface="Lato" pitchFamily="34" charset="0"/>
                <a:cs typeface="Lato" pitchFamily="34" charset="0"/>
              </a:endParaRPr>
            </a:p>
          </p:txBody>
        </p:sp>
      </p:grpSp>
      <p:grpSp>
        <p:nvGrpSpPr>
          <p:cNvPr id="22" name="กลุ่ม 21"/>
          <p:cNvGrpSpPr/>
          <p:nvPr/>
        </p:nvGrpSpPr>
        <p:grpSpPr>
          <a:xfrm>
            <a:off x="4517067" y="1420751"/>
            <a:ext cx="2188254" cy="2060603"/>
            <a:chOff x="13207627" y="2743199"/>
            <a:chExt cx="5097988" cy="4800602"/>
          </a:xfrm>
        </p:grpSpPr>
        <p:grpSp>
          <p:nvGrpSpPr>
            <p:cNvPr id="18" name="กลุ่ม 17"/>
            <p:cNvGrpSpPr/>
            <p:nvPr/>
          </p:nvGrpSpPr>
          <p:grpSpPr>
            <a:xfrm>
              <a:off x="13357231" y="2743199"/>
              <a:ext cx="4868865" cy="4800602"/>
              <a:chOff x="13357231" y="2743199"/>
              <a:chExt cx="4868865" cy="4800602"/>
            </a:xfrm>
          </p:grpSpPr>
          <p:sp>
            <p:nvSpPr>
              <p:cNvPr id="4" name="Rectangle 6"/>
              <p:cNvSpPr>
                <a:spLocks noChangeArrowheads="1"/>
              </p:cNvSpPr>
              <p:nvPr/>
            </p:nvSpPr>
            <p:spPr bwMode="auto">
              <a:xfrm>
                <a:off x="13357231" y="4913312"/>
                <a:ext cx="4868865" cy="2630489"/>
              </a:xfrm>
              <a:prstGeom prst="rect">
                <a:avLst/>
              </a:prstGeom>
              <a:solidFill>
                <a:srgbClr val="DDDB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pPr defTabSz="814952"/>
                <a:endParaRPr lang="th-TH" sz="2513">
                  <a:solidFill>
                    <a:prstClr val="black"/>
                  </a:solidFill>
                  <a:latin typeface="Gill Sans" panose="020B0604020202020204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" name="Freeform 7"/>
              <p:cNvSpPr>
                <a:spLocks/>
              </p:cNvSpPr>
              <p:nvPr/>
            </p:nvSpPr>
            <p:spPr bwMode="auto">
              <a:xfrm>
                <a:off x="13357232" y="2743199"/>
                <a:ext cx="4868864" cy="2170111"/>
              </a:xfrm>
              <a:custGeom>
                <a:avLst/>
                <a:gdLst>
                  <a:gd name="T0" fmla="*/ 1914 w 3067"/>
                  <a:gd name="T1" fmla="*/ 625 h 1367"/>
                  <a:gd name="T2" fmla="*/ 2403 w 3067"/>
                  <a:gd name="T3" fmla="*/ 0 h 1367"/>
                  <a:gd name="T4" fmla="*/ 2891 w 3067"/>
                  <a:gd name="T5" fmla="*/ 625 h 1367"/>
                  <a:gd name="T6" fmla="*/ 3067 w 3067"/>
                  <a:gd name="T7" fmla="*/ 625 h 1367"/>
                  <a:gd name="T8" fmla="*/ 3067 w 3067"/>
                  <a:gd name="T9" fmla="*/ 1367 h 1367"/>
                  <a:gd name="T10" fmla="*/ 0 w 3067"/>
                  <a:gd name="T11" fmla="*/ 1367 h 1367"/>
                  <a:gd name="T12" fmla="*/ 0 w 3067"/>
                  <a:gd name="T13" fmla="*/ 625 h 1367"/>
                  <a:gd name="T14" fmla="*/ 1914 w 3067"/>
                  <a:gd name="T15" fmla="*/ 625 h 1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67" h="1367">
                    <a:moveTo>
                      <a:pt x="1914" y="625"/>
                    </a:moveTo>
                    <a:lnTo>
                      <a:pt x="2403" y="0"/>
                    </a:lnTo>
                    <a:lnTo>
                      <a:pt x="2891" y="625"/>
                    </a:lnTo>
                    <a:lnTo>
                      <a:pt x="3067" y="625"/>
                    </a:lnTo>
                    <a:lnTo>
                      <a:pt x="3067" y="1367"/>
                    </a:lnTo>
                    <a:lnTo>
                      <a:pt x="0" y="1367"/>
                    </a:lnTo>
                    <a:lnTo>
                      <a:pt x="0" y="625"/>
                    </a:lnTo>
                    <a:lnTo>
                      <a:pt x="1914" y="625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pPr defTabSz="814952"/>
                <a:endParaRPr lang="th-TH" sz="2513">
                  <a:solidFill>
                    <a:prstClr val="black"/>
                  </a:solidFill>
                  <a:latin typeface="Gill Sans" panose="020B0604020202020204"/>
                  <a:ea typeface="ＭＳ Ｐゴシック" panose="020B0600070205080204" pitchFamily="34" charset="-128"/>
                </a:endParaRPr>
              </a:p>
            </p:txBody>
          </p:sp>
        </p:grpSp>
        <p:sp>
          <p:nvSpPr>
            <p:cNvPr id="65" name="TextBox 64"/>
            <p:cNvSpPr txBox="1"/>
            <p:nvPr/>
          </p:nvSpPr>
          <p:spPr>
            <a:xfrm>
              <a:off x="13207627" y="4848646"/>
              <a:ext cx="5097988" cy="2344652"/>
            </a:xfrm>
            <a:prstGeom prst="rect">
              <a:avLst/>
            </a:prstGeom>
            <a:noFill/>
          </p:spPr>
          <p:txBody>
            <a:bodyPr wrap="square" lIns="82283" tIns="41141" rIns="82283" bIns="41141" rtlCol="0">
              <a:spAutoFit/>
            </a:bodyPr>
            <a:lstStyle/>
            <a:p>
              <a:pPr algn="ctr" defTabSz="814952"/>
              <a:r>
                <a:rPr lang="fr-FR" sz="12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 Il apprend au-delà de son travail, le département, l'organisation, il continue à faire son travail et reste un spectateur sans action</a:t>
              </a:r>
              <a:r>
                <a:rPr lang="fr-FR" sz="9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.</a:t>
              </a:r>
            </a:p>
          </p:txBody>
        </p:sp>
        <p:sp>
          <p:nvSpPr>
            <p:cNvPr id="66" name="TextBox 65"/>
            <p:cNvSpPr txBox="1"/>
            <p:nvPr/>
          </p:nvSpPr>
          <p:spPr bwMode="auto">
            <a:xfrm>
              <a:off x="14261206" y="3884751"/>
              <a:ext cx="3122812" cy="75288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685663">
                <a:defRPr/>
              </a:pPr>
              <a:r>
                <a:rPr lang="en-US" sz="1500" b="1" dirty="0">
                  <a:solidFill>
                    <a:prstClr val="white"/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le spectateur </a:t>
              </a:r>
              <a:endParaRPr lang="id-ID" sz="1500" b="1" dirty="0">
                <a:solidFill>
                  <a:prstClr val="white"/>
                </a:solidFill>
                <a:latin typeface="Gill Sans" panose="020B0604020202020204"/>
                <a:ea typeface="Lato" pitchFamily="34" charset="0"/>
                <a:cs typeface="Lato" pitchFamily="34" charset="0"/>
              </a:endParaRPr>
            </a:p>
          </p:txBody>
        </p:sp>
      </p:grpSp>
      <p:grpSp>
        <p:nvGrpSpPr>
          <p:cNvPr id="23" name="กลุ่ม 22"/>
          <p:cNvGrpSpPr/>
          <p:nvPr/>
        </p:nvGrpSpPr>
        <p:grpSpPr>
          <a:xfrm>
            <a:off x="2010482" y="3481355"/>
            <a:ext cx="2134987" cy="2256944"/>
            <a:chOff x="7368015" y="7543800"/>
            <a:chExt cx="4973893" cy="5258018"/>
          </a:xfrm>
        </p:grpSpPr>
        <p:grpSp>
          <p:nvGrpSpPr>
            <p:cNvPr id="20" name="กลุ่ม 19"/>
            <p:cNvGrpSpPr/>
            <p:nvPr/>
          </p:nvGrpSpPr>
          <p:grpSpPr>
            <a:xfrm>
              <a:off x="7392987" y="7543800"/>
              <a:ext cx="4838700" cy="5258018"/>
              <a:chOff x="8053388" y="7705725"/>
              <a:chExt cx="4838700" cy="5258018"/>
            </a:xfrm>
          </p:grpSpPr>
          <p:sp>
            <p:nvSpPr>
              <p:cNvPr id="14" name="Rectangle 12"/>
              <p:cNvSpPr>
                <a:spLocks noChangeArrowheads="1"/>
              </p:cNvSpPr>
              <p:nvPr/>
            </p:nvSpPr>
            <p:spPr bwMode="auto">
              <a:xfrm>
                <a:off x="8053388" y="9907586"/>
                <a:ext cx="4838700" cy="3056157"/>
              </a:xfrm>
              <a:prstGeom prst="rect">
                <a:avLst/>
              </a:prstGeom>
              <a:solidFill>
                <a:srgbClr val="DDDB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pPr defTabSz="814952"/>
                <a:endParaRPr lang="th-TH" sz="2513">
                  <a:solidFill>
                    <a:prstClr val="black"/>
                  </a:solidFill>
                  <a:latin typeface="Gill Sans" panose="020B0604020202020204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8053388" y="7705725"/>
                <a:ext cx="4838700" cy="2201863"/>
              </a:xfrm>
              <a:custGeom>
                <a:avLst/>
                <a:gdLst>
                  <a:gd name="T0" fmla="*/ 1895 w 3048"/>
                  <a:gd name="T1" fmla="*/ 645 h 1387"/>
                  <a:gd name="T2" fmla="*/ 2383 w 3048"/>
                  <a:gd name="T3" fmla="*/ 0 h 1387"/>
                  <a:gd name="T4" fmla="*/ 2872 w 3048"/>
                  <a:gd name="T5" fmla="*/ 645 h 1387"/>
                  <a:gd name="T6" fmla="*/ 3048 w 3048"/>
                  <a:gd name="T7" fmla="*/ 645 h 1387"/>
                  <a:gd name="T8" fmla="*/ 3048 w 3048"/>
                  <a:gd name="T9" fmla="*/ 1387 h 1387"/>
                  <a:gd name="T10" fmla="*/ 0 w 3048"/>
                  <a:gd name="T11" fmla="*/ 1387 h 1387"/>
                  <a:gd name="T12" fmla="*/ 0 w 3048"/>
                  <a:gd name="T13" fmla="*/ 645 h 1387"/>
                  <a:gd name="T14" fmla="*/ 1895 w 3048"/>
                  <a:gd name="T15" fmla="*/ 645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48" h="1387">
                    <a:moveTo>
                      <a:pt x="1895" y="645"/>
                    </a:moveTo>
                    <a:lnTo>
                      <a:pt x="2383" y="0"/>
                    </a:lnTo>
                    <a:lnTo>
                      <a:pt x="2872" y="645"/>
                    </a:lnTo>
                    <a:lnTo>
                      <a:pt x="3048" y="645"/>
                    </a:lnTo>
                    <a:lnTo>
                      <a:pt x="3048" y="1387"/>
                    </a:lnTo>
                    <a:lnTo>
                      <a:pt x="0" y="1387"/>
                    </a:lnTo>
                    <a:lnTo>
                      <a:pt x="0" y="645"/>
                    </a:lnTo>
                    <a:lnTo>
                      <a:pt x="1895" y="645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pPr defTabSz="814952"/>
                <a:endParaRPr lang="th-TH" sz="2513">
                  <a:solidFill>
                    <a:prstClr val="black"/>
                  </a:solidFill>
                  <a:latin typeface="Gill Sans" panose="020B0604020202020204"/>
                  <a:ea typeface="ＭＳ Ｐゴシック" panose="020B0600070205080204" pitchFamily="34" charset="-128"/>
                </a:endParaRPr>
              </a:p>
            </p:txBody>
          </p:sp>
        </p:grpSp>
        <p:sp>
          <p:nvSpPr>
            <p:cNvPr id="67" name="TextBox 66"/>
            <p:cNvSpPr txBox="1"/>
            <p:nvPr/>
          </p:nvSpPr>
          <p:spPr>
            <a:xfrm>
              <a:off x="7395261" y="9687065"/>
              <a:ext cx="4946647" cy="2774870"/>
            </a:xfrm>
            <a:prstGeom prst="rect">
              <a:avLst/>
            </a:prstGeom>
            <a:noFill/>
          </p:spPr>
          <p:txBody>
            <a:bodyPr wrap="square" lIns="82283" tIns="41141" rIns="82283" bIns="41141" rtlCol="0">
              <a:spAutoFit/>
            </a:bodyPr>
            <a:lstStyle/>
            <a:p>
              <a:pPr algn="ctr" defTabSz="814952"/>
              <a:r>
                <a:rPr lang="fr-FR" sz="12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elle contribue plus dans le travail, mais il se développe souvent une forme de dépendance au travail. Sous sa forme extrême, cette dépendance peut être fatale.</a:t>
              </a:r>
            </a:p>
          </p:txBody>
        </p:sp>
        <p:sp>
          <p:nvSpPr>
            <p:cNvPr id="68" name="TextBox 67"/>
            <p:cNvSpPr txBox="1"/>
            <p:nvPr/>
          </p:nvSpPr>
          <p:spPr bwMode="auto">
            <a:xfrm>
              <a:off x="7368015" y="8534839"/>
              <a:ext cx="4780688" cy="7528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663">
                <a:defRPr/>
              </a:pPr>
              <a:r>
                <a:rPr lang="en-US" sz="1500" b="1" dirty="0">
                  <a:solidFill>
                    <a:prstClr val="white"/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le bourreau </a:t>
              </a:r>
              <a:endParaRPr lang="id-ID" sz="1500" b="1" dirty="0">
                <a:solidFill>
                  <a:prstClr val="white"/>
                </a:solidFill>
                <a:latin typeface="Gill Sans" panose="020B0604020202020204"/>
                <a:ea typeface="Lato" pitchFamily="34" charset="0"/>
                <a:cs typeface="Lato" pitchFamily="34" charset="0"/>
              </a:endParaRPr>
            </a:p>
          </p:txBody>
        </p:sp>
      </p:grpSp>
      <p:grpSp>
        <p:nvGrpSpPr>
          <p:cNvPr id="19" name="กลุ่ม 18"/>
          <p:cNvGrpSpPr/>
          <p:nvPr/>
        </p:nvGrpSpPr>
        <p:grpSpPr>
          <a:xfrm>
            <a:off x="4594229" y="3494300"/>
            <a:ext cx="2090585" cy="2243998"/>
            <a:chOff x="13387388" y="7735888"/>
            <a:chExt cx="4870450" cy="5227859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3387388" y="9939336"/>
              <a:ext cx="4870450" cy="3024411"/>
            </a:xfrm>
            <a:prstGeom prst="rect">
              <a:avLst/>
            </a:prstGeom>
            <a:solidFill>
              <a:srgbClr val="DDDB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pPr defTabSz="814952"/>
              <a:endParaRPr lang="th-TH" sz="2513">
                <a:solidFill>
                  <a:prstClr val="black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387388" y="7735888"/>
              <a:ext cx="4870450" cy="2203450"/>
            </a:xfrm>
            <a:custGeom>
              <a:avLst/>
              <a:gdLst>
                <a:gd name="T0" fmla="*/ 1915 w 3068"/>
                <a:gd name="T1" fmla="*/ 645 h 1388"/>
                <a:gd name="T2" fmla="*/ 2403 w 3068"/>
                <a:gd name="T3" fmla="*/ 0 h 1388"/>
                <a:gd name="T4" fmla="*/ 2892 w 3068"/>
                <a:gd name="T5" fmla="*/ 645 h 1388"/>
                <a:gd name="T6" fmla="*/ 3068 w 3068"/>
                <a:gd name="T7" fmla="*/ 645 h 1388"/>
                <a:gd name="T8" fmla="*/ 3068 w 3068"/>
                <a:gd name="T9" fmla="*/ 1388 h 1388"/>
                <a:gd name="T10" fmla="*/ 0 w 3068"/>
                <a:gd name="T11" fmla="*/ 1388 h 1388"/>
                <a:gd name="T12" fmla="*/ 0 w 3068"/>
                <a:gd name="T13" fmla="*/ 645 h 1388"/>
                <a:gd name="T14" fmla="*/ 1915 w 3068"/>
                <a:gd name="T15" fmla="*/ 645 h 1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68" h="1388">
                  <a:moveTo>
                    <a:pt x="1915" y="645"/>
                  </a:moveTo>
                  <a:lnTo>
                    <a:pt x="2403" y="0"/>
                  </a:lnTo>
                  <a:lnTo>
                    <a:pt x="2892" y="645"/>
                  </a:lnTo>
                  <a:lnTo>
                    <a:pt x="3068" y="645"/>
                  </a:lnTo>
                  <a:lnTo>
                    <a:pt x="3068" y="1388"/>
                  </a:lnTo>
                  <a:lnTo>
                    <a:pt x="0" y="1388"/>
                  </a:lnTo>
                  <a:lnTo>
                    <a:pt x="0" y="645"/>
                  </a:lnTo>
                  <a:lnTo>
                    <a:pt x="1915" y="645"/>
                  </a:lnTo>
                  <a:close/>
                </a:path>
              </a:pathLst>
            </a:custGeom>
            <a:solidFill>
              <a:srgbClr val="FCC00E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pPr defTabSz="814952"/>
              <a:endParaRPr lang="th-TH" sz="2513">
                <a:solidFill>
                  <a:srgbClr val="FCC00E"/>
                </a:solidFill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69" name="TextBox 68"/>
          <p:cNvSpPr txBox="1"/>
          <p:nvPr/>
        </p:nvSpPr>
        <p:spPr>
          <a:xfrm>
            <a:off x="4614672" y="4394515"/>
            <a:ext cx="2070142" cy="1191081"/>
          </a:xfrm>
          <a:prstGeom prst="rect">
            <a:avLst/>
          </a:prstGeom>
          <a:noFill/>
        </p:spPr>
        <p:txBody>
          <a:bodyPr wrap="square" lIns="82283" tIns="41141" rIns="82283" bIns="41141" rtlCol="0">
            <a:spAutoFit/>
          </a:bodyPr>
          <a:lstStyle/>
          <a:p>
            <a:pPr algn="ctr" defTabSz="814952"/>
            <a:r>
              <a:rPr lang="fr-FR" sz="12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Lato" pitchFamily="34" charset="0"/>
                <a:cs typeface="Lato" pitchFamily="34" charset="0"/>
              </a:rPr>
              <a:t>il a la capacité de travailler et de contribuer à connaître le sens de sa contribution, l'une de ses responsabilités est de déplacer son équipe à haute performance</a:t>
            </a:r>
            <a:r>
              <a:rPr lang="fr-FR" sz="105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Lato" pitchFamily="34" charset="0"/>
                <a:cs typeface="Lato" pitchFamily="34" charset="0"/>
              </a:rPr>
              <a:t>.</a:t>
            </a:r>
          </a:p>
        </p:txBody>
      </p:sp>
      <p:sp>
        <p:nvSpPr>
          <p:cNvPr id="70" name="TextBox 69"/>
          <p:cNvSpPr txBox="1"/>
          <p:nvPr/>
        </p:nvSpPr>
        <p:spPr bwMode="auto">
          <a:xfrm>
            <a:off x="5024344" y="3925192"/>
            <a:ext cx="1106393" cy="3231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685663">
              <a:defRPr/>
            </a:pPr>
            <a:r>
              <a:rPr lang="en-US" sz="1500" b="1" dirty="0">
                <a:solidFill>
                  <a:prstClr val="white"/>
                </a:solidFill>
                <a:latin typeface="Gill Sans" panose="020B0604020202020204"/>
                <a:ea typeface="Lato" pitchFamily="34" charset="0"/>
                <a:cs typeface="Lato" pitchFamily="34" charset="0"/>
              </a:rPr>
              <a:t>Le meneur</a:t>
            </a:r>
            <a:endParaRPr lang="id-ID" sz="1500" b="1" dirty="0">
              <a:solidFill>
                <a:prstClr val="white"/>
              </a:solidFill>
              <a:latin typeface="Gill Sans" panose="020B0604020202020204"/>
              <a:ea typeface="Lato" pitchFamily="34" charset="0"/>
              <a:cs typeface="Lato" pitchFamily="34" charset="0"/>
            </a:endParaRPr>
          </a:p>
        </p:txBody>
      </p:sp>
      <p:grpSp>
        <p:nvGrpSpPr>
          <p:cNvPr id="25" name="กลุ่ม 24"/>
          <p:cNvGrpSpPr/>
          <p:nvPr/>
        </p:nvGrpSpPr>
        <p:grpSpPr>
          <a:xfrm>
            <a:off x="490737" y="1765663"/>
            <a:ext cx="7719746" cy="3549815"/>
            <a:chOff x="985419" y="2776125"/>
            <a:chExt cx="20585987" cy="9466173"/>
          </a:xfrm>
        </p:grpSpPr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85419" y="2776125"/>
              <a:ext cx="2419350" cy="9150349"/>
            </a:xfrm>
            <a:custGeom>
              <a:avLst/>
              <a:gdLst>
                <a:gd name="T0" fmla="*/ 3 w 78"/>
                <a:gd name="T1" fmla="*/ 107 h 295"/>
                <a:gd name="T2" fmla="*/ 15 w 78"/>
                <a:gd name="T3" fmla="*/ 107 h 295"/>
                <a:gd name="T4" fmla="*/ 27 w 78"/>
                <a:gd name="T5" fmla="*/ 114 h 295"/>
                <a:gd name="T6" fmla="*/ 24 w 78"/>
                <a:gd name="T7" fmla="*/ 129 h 295"/>
                <a:gd name="T8" fmla="*/ 23 w 78"/>
                <a:gd name="T9" fmla="*/ 159 h 295"/>
                <a:gd name="T10" fmla="*/ 32 w 78"/>
                <a:gd name="T11" fmla="*/ 208 h 295"/>
                <a:gd name="T12" fmla="*/ 30 w 78"/>
                <a:gd name="T13" fmla="*/ 219 h 295"/>
                <a:gd name="T14" fmla="*/ 30 w 78"/>
                <a:gd name="T15" fmla="*/ 257 h 295"/>
                <a:gd name="T16" fmla="*/ 25 w 78"/>
                <a:gd name="T17" fmla="*/ 262 h 295"/>
                <a:gd name="T18" fmla="*/ 21 w 78"/>
                <a:gd name="T19" fmla="*/ 274 h 295"/>
                <a:gd name="T20" fmla="*/ 25 w 78"/>
                <a:gd name="T21" fmla="*/ 291 h 295"/>
                <a:gd name="T22" fmla="*/ 26 w 78"/>
                <a:gd name="T23" fmla="*/ 280 h 295"/>
                <a:gd name="T24" fmla="*/ 29 w 78"/>
                <a:gd name="T25" fmla="*/ 295 h 295"/>
                <a:gd name="T26" fmla="*/ 31 w 78"/>
                <a:gd name="T27" fmla="*/ 280 h 295"/>
                <a:gd name="T28" fmla="*/ 38 w 78"/>
                <a:gd name="T29" fmla="*/ 291 h 295"/>
                <a:gd name="T30" fmla="*/ 45 w 78"/>
                <a:gd name="T31" fmla="*/ 295 h 295"/>
                <a:gd name="T32" fmla="*/ 59 w 78"/>
                <a:gd name="T33" fmla="*/ 289 h 295"/>
                <a:gd name="T34" fmla="*/ 51 w 78"/>
                <a:gd name="T35" fmla="*/ 283 h 295"/>
                <a:gd name="T36" fmla="*/ 46 w 78"/>
                <a:gd name="T37" fmla="*/ 270 h 295"/>
                <a:gd name="T38" fmla="*/ 50 w 78"/>
                <a:gd name="T39" fmla="*/ 245 h 295"/>
                <a:gd name="T40" fmla="*/ 72 w 78"/>
                <a:gd name="T41" fmla="*/ 215 h 295"/>
                <a:gd name="T42" fmla="*/ 78 w 78"/>
                <a:gd name="T43" fmla="*/ 205 h 295"/>
                <a:gd name="T44" fmla="*/ 69 w 78"/>
                <a:gd name="T45" fmla="*/ 139 h 295"/>
                <a:gd name="T46" fmla="*/ 74 w 78"/>
                <a:gd name="T47" fmla="*/ 127 h 295"/>
                <a:gd name="T48" fmla="*/ 67 w 78"/>
                <a:gd name="T49" fmla="*/ 105 h 295"/>
                <a:gd name="T50" fmla="*/ 76 w 78"/>
                <a:gd name="T51" fmla="*/ 99 h 295"/>
                <a:gd name="T52" fmla="*/ 75 w 78"/>
                <a:gd name="T53" fmla="*/ 89 h 295"/>
                <a:gd name="T54" fmla="*/ 71 w 78"/>
                <a:gd name="T55" fmla="*/ 79 h 295"/>
                <a:gd name="T56" fmla="*/ 67 w 78"/>
                <a:gd name="T57" fmla="*/ 70 h 295"/>
                <a:gd name="T58" fmla="*/ 59 w 78"/>
                <a:gd name="T59" fmla="*/ 49 h 295"/>
                <a:gd name="T60" fmla="*/ 50 w 78"/>
                <a:gd name="T61" fmla="*/ 44 h 295"/>
                <a:gd name="T62" fmla="*/ 49 w 78"/>
                <a:gd name="T63" fmla="*/ 40 h 295"/>
                <a:gd name="T64" fmla="*/ 40 w 78"/>
                <a:gd name="T65" fmla="*/ 37 h 295"/>
                <a:gd name="T66" fmla="*/ 43 w 78"/>
                <a:gd name="T67" fmla="*/ 32 h 295"/>
                <a:gd name="T68" fmla="*/ 45 w 78"/>
                <a:gd name="T69" fmla="*/ 25 h 295"/>
                <a:gd name="T70" fmla="*/ 45 w 78"/>
                <a:gd name="T71" fmla="*/ 19 h 295"/>
                <a:gd name="T72" fmla="*/ 45 w 78"/>
                <a:gd name="T73" fmla="*/ 11 h 295"/>
                <a:gd name="T74" fmla="*/ 26 w 78"/>
                <a:gd name="T75" fmla="*/ 2 h 295"/>
                <a:gd name="T76" fmla="*/ 20 w 78"/>
                <a:gd name="T77" fmla="*/ 20 h 295"/>
                <a:gd name="T78" fmla="*/ 18 w 78"/>
                <a:gd name="T79" fmla="*/ 23 h 295"/>
                <a:gd name="T80" fmla="*/ 17 w 78"/>
                <a:gd name="T81" fmla="*/ 27 h 295"/>
                <a:gd name="T82" fmla="*/ 21 w 78"/>
                <a:gd name="T83" fmla="*/ 35 h 295"/>
                <a:gd name="T84" fmla="*/ 24 w 78"/>
                <a:gd name="T85" fmla="*/ 34 h 295"/>
                <a:gd name="T86" fmla="*/ 24 w 78"/>
                <a:gd name="T87" fmla="*/ 36 h 295"/>
                <a:gd name="T88" fmla="*/ 23 w 78"/>
                <a:gd name="T89" fmla="*/ 38 h 295"/>
                <a:gd name="T90" fmla="*/ 23 w 78"/>
                <a:gd name="T91" fmla="*/ 38 h 295"/>
                <a:gd name="T92" fmla="*/ 20 w 78"/>
                <a:gd name="T93" fmla="*/ 43 h 295"/>
                <a:gd name="T94" fmla="*/ 8 w 78"/>
                <a:gd name="T95" fmla="*/ 49 h 295"/>
                <a:gd name="T96" fmla="*/ 4 w 78"/>
                <a:gd name="T97" fmla="*/ 64 h 295"/>
                <a:gd name="T98" fmla="*/ 3 w 78"/>
                <a:gd name="T99" fmla="*/ 73 h 295"/>
                <a:gd name="T100" fmla="*/ 0 w 78"/>
                <a:gd name="T101" fmla="*/ 102 h 295"/>
                <a:gd name="T102" fmla="*/ 52 w 78"/>
                <a:gd name="T103" fmla="*/ 207 h 295"/>
                <a:gd name="T104" fmla="*/ 52 w 78"/>
                <a:gd name="T105" fmla="*/ 210 h 295"/>
                <a:gd name="T106" fmla="*/ 16 w 78"/>
                <a:gd name="T107" fmla="*/ 88 h 295"/>
                <a:gd name="T108" fmla="*/ 24 w 78"/>
                <a:gd name="T109" fmla="*/ 88 h 295"/>
                <a:gd name="T110" fmla="*/ 27 w 78"/>
                <a:gd name="T111" fmla="*/ 95 h 295"/>
                <a:gd name="T112" fmla="*/ 16 w 78"/>
                <a:gd name="T113" fmla="*/ 95 h 295"/>
                <a:gd name="T114" fmla="*/ 16 w 78"/>
                <a:gd name="T115" fmla="*/ 88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" h="295">
                  <a:moveTo>
                    <a:pt x="0" y="102"/>
                  </a:moveTo>
                  <a:cubicBezTo>
                    <a:pt x="0" y="103"/>
                    <a:pt x="1" y="106"/>
                    <a:pt x="3" y="107"/>
                  </a:cubicBezTo>
                  <a:cubicBezTo>
                    <a:pt x="5" y="108"/>
                    <a:pt x="6" y="107"/>
                    <a:pt x="9" y="107"/>
                  </a:cubicBezTo>
                  <a:cubicBezTo>
                    <a:pt x="12" y="107"/>
                    <a:pt x="12" y="108"/>
                    <a:pt x="15" y="107"/>
                  </a:cubicBezTo>
                  <a:cubicBezTo>
                    <a:pt x="18" y="107"/>
                    <a:pt x="28" y="107"/>
                    <a:pt x="28" y="107"/>
                  </a:cubicBezTo>
                  <a:cubicBezTo>
                    <a:pt x="28" y="107"/>
                    <a:pt x="28" y="111"/>
                    <a:pt x="27" y="114"/>
                  </a:cubicBezTo>
                  <a:cubicBezTo>
                    <a:pt x="26" y="118"/>
                    <a:pt x="22" y="129"/>
                    <a:pt x="22" y="129"/>
                  </a:cubicBezTo>
                  <a:cubicBezTo>
                    <a:pt x="24" y="129"/>
                    <a:pt x="24" y="129"/>
                    <a:pt x="24" y="129"/>
                  </a:cubicBezTo>
                  <a:cubicBezTo>
                    <a:pt x="24" y="129"/>
                    <a:pt x="24" y="129"/>
                    <a:pt x="24" y="132"/>
                  </a:cubicBezTo>
                  <a:cubicBezTo>
                    <a:pt x="23" y="134"/>
                    <a:pt x="22" y="148"/>
                    <a:pt x="23" y="159"/>
                  </a:cubicBezTo>
                  <a:cubicBezTo>
                    <a:pt x="23" y="170"/>
                    <a:pt x="24" y="208"/>
                    <a:pt x="24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32" y="208"/>
                    <a:pt x="32" y="208"/>
                    <a:pt x="32" y="209"/>
                  </a:cubicBezTo>
                  <a:cubicBezTo>
                    <a:pt x="32" y="209"/>
                    <a:pt x="31" y="214"/>
                    <a:pt x="30" y="219"/>
                  </a:cubicBezTo>
                  <a:cubicBezTo>
                    <a:pt x="29" y="224"/>
                    <a:pt x="32" y="253"/>
                    <a:pt x="32" y="253"/>
                  </a:cubicBezTo>
                  <a:cubicBezTo>
                    <a:pt x="32" y="253"/>
                    <a:pt x="31" y="255"/>
                    <a:pt x="30" y="257"/>
                  </a:cubicBezTo>
                  <a:cubicBezTo>
                    <a:pt x="29" y="259"/>
                    <a:pt x="26" y="262"/>
                    <a:pt x="26" y="262"/>
                  </a:cubicBezTo>
                  <a:cubicBezTo>
                    <a:pt x="26" y="262"/>
                    <a:pt x="26" y="262"/>
                    <a:pt x="25" y="262"/>
                  </a:cubicBezTo>
                  <a:cubicBezTo>
                    <a:pt x="25" y="262"/>
                    <a:pt x="21" y="265"/>
                    <a:pt x="20" y="268"/>
                  </a:cubicBezTo>
                  <a:cubicBezTo>
                    <a:pt x="19" y="271"/>
                    <a:pt x="20" y="272"/>
                    <a:pt x="21" y="274"/>
                  </a:cubicBezTo>
                  <a:cubicBezTo>
                    <a:pt x="22" y="276"/>
                    <a:pt x="23" y="291"/>
                    <a:pt x="23" y="291"/>
                  </a:cubicBezTo>
                  <a:cubicBezTo>
                    <a:pt x="23" y="291"/>
                    <a:pt x="24" y="291"/>
                    <a:pt x="25" y="291"/>
                  </a:cubicBezTo>
                  <a:cubicBezTo>
                    <a:pt x="25" y="291"/>
                    <a:pt x="25" y="278"/>
                    <a:pt x="25" y="278"/>
                  </a:cubicBezTo>
                  <a:cubicBezTo>
                    <a:pt x="25" y="278"/>
                    <a:pt x="25" y="278"/>
                    <a:pt x="26" y="280"/>
                  </a:cubicBezTo>
                  <a:cubicBezTo>
                    <a:pt x="27" y="282"/>
                    <a:pt x="28" y="294"/>
                    <a:pt x="28" y="294"/>
                  </a:cubicBezTo>
                  <a:cubicBezTo>
                    <a:pt x="28" y="294"/>
                    <a:pt x="29" y="295"/>
                    <a:pt x="29" y="295"/>
                  </a:cubicBezTo>
                  <a:cubicBezTo>
                    <a:pt x="30" y="294"/>
                    <a:pt x="29" y="281"/>
                    <a:pt x="29" y="281"/>
                  </a:cubicBezTo>
                  <a:cubicBezTo>
                    <a:pt x="29" y="281"/>
                    <a:pt x="30" y="280"/>
                    <a:pt x="31" y="280"/>
                  </a:cubicBezTo>
                  <a:cubicBezTo>
                    <a:pt x="32" y="279"/>
                    <a:pt x="32" y="280"/>
                    <a:pt x="33" y="282"/>
                  </a:cubicBezTo>
                  <a:cubicBezTo>
                    <a:pt x="34" y="284"/>
                    <a:pt x="37" y="290"/>
                    <a:pt x="38" y="291"/>
                  </a:cubicBezTo>
                  <a:cubicBezTo>
                    <a:pt x="39" y="291"/>
                    <a:pt x="40" y="291"/>
                    <a:pt x="40" y="291"/>
                  </a:cubicBezTo>
                  <a:cubicBezTo>
                    <a:pt x="40" y="291"/>
                    <a:pt x="42" y="294"/>
                    <a:pt x="45" y="295"/>
                  </a:cubicBezTo>
                  <a:cubicBezTo>
                    <a:pt x="47" y="295"/>
                    <a:pt x="58" y="293"/>
                    <a:pt x="59" y="292"/>
                  </a:cubicBezTo>
                  <a:cubicBezTo>
                    <a:pt x="60" y="291"/>
                    <a:pt x="59" y="290"/>
                    <a:pt x="59" y="289"/>
                  </a:cubicBezTo>
                  <a:cubicBezTo>
                    <a:pt x="58" y="288"/>
                    <a:pt x="56" y="286"/>
                    <a:pt x="54" y="285"/>
                  </a:cubicBezTo>
                  <a:cubicBezTo>
                    <a:pt x="52" y="284"/>
                    <a:pt x="51" y="283"/>
                    <a:pt x="51" y="283"/>
                  </a:cubicBezTo>
                  <a:cubicBezTo>
                    <a:pt x="50" y="282"/>
                    <a:pt x="50" y="282"/>
                    <a:pt x="49" y="278"/>
                  </a:cubicBezTo>
                  <a:cubicBezTo>
                    <a:pt x="49" y="275"/>
                    <a:pt x="47" y="274"/>
                    <a:pt x="46" y="270"/>
                  </a:cubicBezTo>
                  <a:cubicBezTo>
                    <a:pt x="45" y="266"/>
                    <a:pt x="45" y="252"/>
                    <a:pt x="45" y="252"/>
                  </a:cubicBezTo>
                  <a:cubicBezTo>
                    <a:pt x="45" y="252"/>
                    <a:pt x="46" y="250"/>
                    <a:pt x="50" y="245"/>
                  </a:cubicBezTo>
                  <a:cubicBezTo>
                    <a:pt x="54" y="240"/>
                    <a:pt x="64" y="224"/>
                    <a:pt x="66" y="221"/>
                  </a:cubicBezTo>
                  <a:cubicBezTo>
                    <a:pt x="68" y="217"/>
                    <a:pt x="70" y="218"/>
                    <a:pt x="72" y="215"/>
                  </a:cubicBezTo>
                  <a:cubicBezTo>
                    <a:pt x="74" y="213"/>
                    <a:pt x="76" y="206"/>
                    <a:pt x="76" y="206"/>
                  </a:cubicBezTo>
                  <a:cubicBezTo>
                    <a:pt x="76" y="206"/>
                    <a:pt x="77" y="206"/>
                    <a:pt x="78" y="205"/>
                  </a:cubicBezTo>
                  <a:cubicBezTo>
                    <a:pt x="78" y="205"/>
                    <a:pt x="74" y="174"/>
                    <a:pt x="73" y="163"/>
                  </a:cubicBezTo>
                  <a:cubicBezTo>
                    <a:pt x="71" y="153"/>
                    <a:pt x="69" y="142"/>
                    <a:pt x="69" y="139"/>
                  </a:cubicBezTo>
                  <a:cubicBezTo>
                    <a:pt x="69" y="137"/>
                    <a:pt x="69" y="128"/>
                    <a:pt x="69" y="128"/>
                  </a:cubicBezTo>
                  <a:cubicBezTo>
                    <a:pt x="69" y="128"/>
                    <a:pt x="73" y="127"/>
                    <a:pt x="74" y="127"/>
                  </a:cubicBezTo>
                  <a:cubicBezTo>
                    <a:pt x="75" y="126"/>
                    <a:pt x="73" y="124"/>
                    <a:pt x="72" y="122"/>
                  </a:cubicBezTo>
                  <a:cubicBezTo>
                    <a:pt x="72" y="120"/>
                    <a:pt x="67" y="105"/>
                    <a:pt x="67" y="105"/>
                  </a:cubicBezTo>
                  <a:cubicBezTo>
                    <a:pt x="67" y="105"/>
                    <a:pt x="68" y="106"/>
                    <a:pt x="69" y="106"/>
                  </a:cubicBezTo>
                  <a:cubicBezTo>
                    <a:pt x="69" y="105"/>
                    <a:pt x="75" y="101"/>
                    <a:pt x="76" y="99"/>
                  </a:cubicBezTo>
                  <a:cubicBezTo>
                    <a:pt x="78" y="96"/>
                    <a:pt x="76" y="96"/>
                    <a:pt x="76" y="93"/>
                  </a:cubicBezTo>
                  <a:cubicBezTo>
                    <a:pt x="76" y="90"/>
                    <a:pt x="75" y="91"/>
                    <a:pt x="75" y="89"/>
                  </a:cubicBezTo>
                  <a:cubicBezTo>
                    <a:pt x="74" y="88"/>
                    <a:pt x="73" y="87"/>
                    <a:pt x="72" y="84"/>
                  </a:cubicBezTo>
                  <a:cubicBezTo>
                    <a:pt x="71" y="82"/>
                    <a:pt x="72" y="83"/>
                    <a:pt x="71" y="79"/>
                  </a:cubicBezTo>
                  <a:cubicBezTo>
                    <a:pt x="70" y="75"/>
                    <a:pt x="70" y="77"/>
                    <a:pt x="69" y="75"/>
                  </a:cubicBezTo>
                  <a:cubicBezTo>
                    <a:pt x="68" y="73"/>
                    <a:pt x="68" y="73"/>
                    <a:pt x="67" y="70"/>
                  </a:cubicBezTo>
                  <a:cubicBezTo>
                    <a:pt x="66" y="68"/>
                    <a:pt x="61" y="51"/>
                    <a:pt x="60" y="51"/>
                  </a:cubicBezTo>
                  <a:cubicBezTo>
                    <a:pt x="60" y="50"/>
                    <a:pt x="60" y="50"/>
                    <a:pt x="59" y="49"/>
                  </a:cubicBezTo>
                  <a:cubicBezTo>
                    <a:pt x="59" y="48"/>
                    <a:pt x="58" y="49"/>
                    <a:pt x="57" y="48"/>
                  </a:cubicBezTo>
                  <a:cubicBezTo>
                    <a:pt x="56" y="47"/>
                    <a:pt x="51" y="45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49" y="41"/>
                    <a:pt x="49" y="40"/>
                  </a:cubicBezTo>
                  <a:cubicBezTo>
                    <a:pt x="48" y="39"/>
                    <a:pt x="47" y="39"/>
                    <a:pt x="46" y="39"/>
                  </a:cubicBezTo>
                  <a:cubicBezTo>
                    <a:pt x="44" y="38"/>
                    <a:pt x="40" y="37"/>
                    <a:pt x="40" y="37"/>
                  </a:cubicBezTo>
                  <a:cubicBezTo>
                    <a:pt x="40" y="37"/>
                    <a:pt x="40" y="37"/>
                    <a:pt x="40" y="36"/>
                  </a:cubicBezTo>
                  <a:cubicBezTo>
                    <a:pt x="40" y="35"/>
                    <a:pt x="41" y="34"/>
                    <a:pt x="43" y="32"/>
                  </a:cubicBezTo>
                  <a:cubicBezTo>
                    <a:pt x="44" y="29"/>
                    <a:pt x="44" y="26"/>
                    <a:pt x="44" y="26"/>
                  </a:cubicBezTo>
                  <a:cubicBezTo>
                    <a:pt x="44" y="26"/>
                    <a:pt x="45" y="26"/>
                    <a:pt x="45" y="25"/>
                  </a:cubicBezTo>
                  <a:cubicBezTo>
                    <a:pt x="46" y="24"/>
                    <a:pt x="46" y="21"/>
                    <a:pt x="46" y="20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4"/>
                    <a:pt x="45" y="11"/>
                  </a:cubicBezTo>
                  <a:cubicBezTo>
                    <a:pt x="43" y="3"/>
                    <a:pt x="43" y="2"/>
                    <a:pt x="36" y="0"/>
                  </a:cubicBezTo>
                  <a:cubicBezTo>
                    <a:pt x="36" y="0"/>
                    <a:pt x="29" y="0"/>
                    <a:pt x="26" y="2"/>
                  </a:cubicBezTo>
                  <a:cubicBezTo>
                    <a:pt x="23" y="3"/>
                    <a:pt x="21" y="7"/>
                    <a:pt x="20" y="11"/>
                  </a:cubicBezTo>
                  <a:cubicBezTo>
                    <a:pt x="19" y="14"/>
                    <a:pt x="20" y="20"/>
                    <a:pt x="20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8" y="22"/>
                    <a:pt x="18" y="23"/>
                  </a:cubicBezTo>
                  <a:cubicBezTo>
                    <a:pt x="19" y="24"/>
                    <a:pt x="19" y="24"/>
                    <a:pt x="19" y="25"/>
                  </a:cubicBezTo>
                  <a:cubicBezTo>
                    <a:pt x="17" y="26"/>
                    <a:pt x="17" y="27"/>
                    <a:pt x="17" y="27"/>
                  </a:cubicBezTo>
                  <a:cubicBezTo>
                    <a:pt x="17" y="27"/>
                    <a:pt x="15" y="27"/>
                    <a:pt x="16" y="31"/>
                  </a:cubicBezTo>
                  <a:cubicBezTo>
                    <a:pt x="17" y="34"/>
                    <a:pt x="19" y="36"/>
                    <a:pt x="21" y="35"/>
                  </a:cubicBezTo>
                  <a:cubicBezTo>
                    <a:pt x="23" y="35"/>
                    <a:pt x="23" y="34"/>
                    <a:pt x="23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5"/>
                    <a:pt x="24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3" y="37"/>
                    <a:pt x="23" y="37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1" y="39"/>
                    <a:pt x="21" y="40"/>
                  </a:cubicBezTo>
                  <a:cubicBezTo>
                    <a:pt x="20" y="41"/>
                    <a:pt x="20" y="43"/>
                    <a:pt x="20" y="43"/>
                  </a:cubicBezTo>
                  <a:cubicBezTo>
                    <a:pt x="20" y="43"/>
                    <a:pt x="15" y="44"/>
                    <a:pt x="12" y="46"/>
                  </a:cubicBezTo>
                  <a:cubicBezTo>
                    <a:pt x="12" y="46"/>
                    <a:pt x="9" y="47"/>
                    <a:pt x="8" y="49"/>
                  </a:cubicBezTo>
                  <a:cubicBezTo>
                    <a:pt x="6" y="50"/>
                    <a:pt x="5" y="52"/>
                    <a:pt x="5" y="55"/>
                  </a:cubicBezTo>
                  <a:cubicBezTo>
                    <a:pt x="5" y="58"/>
                    <a:pt x="4" y="63"/>
                    <a:pt x="4" y="64"/>
                  </a:cubicBezTo>
                  <a:cubicBezTo>
                    <a:pt x="4" y="65"/>
                    <a:pt x="3" y="67"/>
                    <a:pt x="3" y="69"/>
                  </a:cubicBezTo>
                  <a:cubicBezTo>
                    <a:pt x="3" y="71"/>
                    <a:pt x="3" y="72"/>
                    <a:pt x="3" y="73"/>
                  </a:cubicBezTo>
                  <a:cubicBezTo>
                    <a:pt x="3" y="75"/>
                    <a:pt x="3" y="75"/>
                    <a:pt x="2" y="78"/>
                  </a:cubicBezTo>
                  <a:cubicBezTo>
                    <a:pt x="1" y="82"/>
                    <a:pt x="0" y="102"/>
                    <a:pt x="0" y="102"/>
                  </a:cubicBezTo>
                  <a:close/>
                  <a:moveTo>
                    <a:pt x="51" y="211"/>
                  </a:moveTo>
                  <a:cubicBezTo>
                    <a:pt x="51" y="211"/>
                    <a:pt x="52" y="207"/>
                    <a:pt x="52" y="207"/>
                  </a:cubicBezTo>
                  <a:cubicBezTo>
                    <a:pt x="53" y="207"/>
                    <a:pt x="54" y="207"/>
                    <a:pt x="54" y="207"/>
                  </a:cubicBezTo>
                  <a:cubicBezTo>
                    <a:pt x="54" y="207"/>
                    <a:pt x="53" y="209"/>
                    <a:pt x="52" y="210"/>
                  </a:cubicBezTo>
                  <a:cubicBezTo>
                    <a:pt x="51" y="211"/>
                    <a:pt x="51" y="211"/>
                    <a:pt x="51" y="211"/>
                  </a:cubicBezTo>
                  <a:close/>
                  <a:moveTo>
                    <a:pt x="16" y="88"/>
                  </a:moveTo>
                  <a:cubicBezTo>
                    <a:pt x="17" y="86"/>
                    <a:pt x="20" y="81"/>
                    <a:pt x="20" y="81"/>
                  </a:cubicBezTo>
                  <a:cubicBezTo>
                    <a:pt x="20" y="82"/>
                    <a:pt x="22" y="86"/>
                    <a:pt x="24" y="88"/>
                  </a:cubicBezTo>
                  <a:cubicBezTo>
                    <a:pt x="25" y="89"/>
                    <a:pt x="25" y="90"/>
                    <a:pt x="26" y="92"/>
                  </a:cubicBezTo>
                  <a:cubicBezTo>
                    <a:pt x="27" y="94"/>
                    <a:pt x="27" y="95"/>
                    <a:pt x="27" y="95"/>
                  </a:cubicBezTo>
                  <a:cubicBezTo>
                    <a:pt x="27" y="95"/>
                    <a:pt x="25" y="95"/>
                    <a:pt x="22" y="95"/>
                  </a:cubicBezTo>
                  <a:cubicBezTo>
                    <a:pt x="19" y="96"/>
                    <a:pt x="17" y="95"/>
                    <a:pt x="16" y="95"/>
                  </a:cubicBezTo>
                  <a:cubicBezTo>
                    <a:pt x="15" y="94"/>
                    <a:pt x="16" y="95"/>
                    <a:pt x="15" y="94"/>
                  </a:cubicBezTo>
                  <a:cubicBezTo>
                    <a:pt x="15" y="93"/>
                    <a:pt x="16" y="89"/>
                    <a:pt x="16" y="8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pPr defTabSz="814952"/>
              <a:endParaRPr lang="th-TH" sz="2513">
                <a:solidFill>
                  <a:prstClr val="black"/>
                </a:solidFill>
                <a:ea typeface="ＭＳ Ｐゴシック" panose="020B0600070205080204" pitchFamily="34" charset="-128"/>
              </a:endParaRPr>
            </a:p>
          </p:txBody>
        </p:sp>
        <p:grpSp>
          <p:nvGrpSpPr>
            <p:cNvPr id="75" name="กลุ่ม 74"/>
            <p:cNvGrpSpPr/>
            <p:nvPr/>
          </p:nvGrpSpPr>
          <p:grpSpPr>
            <a:xfrm>
              <a:off x="18892644" y="3163019"/>
              <a:ext cx="2678762" cy="9079279"/>
              <a:chOff x="6971258" y="4756892"/>
              <a:chExt cx="1568450" cy="5356586"/>
            </a:xfrm>
            <a:solidFill>
              <a:schemeClr val="accent3"/>
            </a:solidFill>
          </p:grpSpPr>
          <p:sp>
            <p:nvSpPr>
              <p:cNvPr id="54" name="Freeform 7"/>
              <p:cNvSpPr>
                <a:spLocks noEditPoints="1"/>
              </p:cNvSpPr>
              <p:nvPr/>
            </p:nvSpPr>
            <p:spPr bwMode="auto">
              <a:xfrm>
                <a:off x="6971258" y="5471627"/>
                <a:ext cx="1568450" cy="4641851"/>
              </a:xfrm>
              <a:custGeom>
                <a:avLst/>
                <a:gdLst>
                  <a:gd name="T0" fmla="*/ 94 w 97"/>
                  <a:gd name="T1" fmla="*/ 14 h 287"/>
                  <a:gd name="T2" fmla="*/ 71 w 97"/>
                  <a:gd name="T3" fmla="*/ 0 h 287"/>
                  <a:gd name="T4" fmla="*/ 70 w 97"/>
                  <a:gd name="T5" fmla="*/ 0 h 287"/>
                  <a:gd name="T6" fmla="*/ 56 w 97"/>
                  <a:gd name="T7" fmla="*/ 11 h 287"/>
                  <a:gd name="T8" fmla="*/ 47 w 97"/>
                  <a:gd name="T9" fmla="*/ 16 h 287"/>
                  <a:gd name="T10" fmla="*/ 46 w 97"/>
                  <a:gd name="T11" fmla="*/ 8 h 287"/>
                  <a:gd name="T12" fmla="*/ 31 w 97"/>
                  <a:gd name="T13" fmla="*/ 15 h 287"/>
                  <a:gd name="T14" fmla="*/ 10 w 97"/>
                  <a:gd name="T15" fmla="*/ 41 h 287"/>
                  <a:gd name="T16" fmla="*/ 18 w 97"/>
                  <a:gd name="T17" fmla="*/ 69 h 287"/>
                  <a:gd name="T18" fmla="*/ 21 w 97"/>
                  <a:gd name="T19" fmla="*/ 97 h 287"/>
                  <a:gd name="T20" fmla="*/ 23 w 97"/>
                  <a:gd name="T21" fmla="*/ 131 h 287"/>
                  <a:gd name="T22" fmla="*/ 33 w 97"/>
                  <a:gd name="T23" fmla="*/ 209 h 287"/>
                  <a:gd name="T24" fmla="*/ 23 w 97"/>
                  <a:gd name="T25" fmla="*/ 249 h 287"/>
                  <a:gd name="T26" fmla="*/ 11 w 97"/>
                  <a:gd name="T27" fmla="*/ 257 h 287"/>
                  <a:gd name="T28" fmla="*/ 40 w 97"/>
                  <a:gd name="T29" fmla="*/ 252 h 287"/>
                  <a:gd name="T30" fmla="*/ 53 w 97"/>
                  <a:gd name="T31" fmla="*/ 251 h 287"/>
                  <a:gd name="T32" fmla="*/ 53 w 97"/>
                  <a:gd name="T33" fmla="*/ 224 h 287"/>
                  <a:gd name="T34" fmla="*/ 55 w 97"/>
                  <a:gd name="T35" fmla="*/ 185 h 287"/>
                  <a:gd name="T36" fmla="*/ 54 w 97"/>
                  <a:gd name="T37" fmla="*/ 158 h 287"/>
                  <a:gd name="T38" fmla="*/ 63 w 97"/>
                  <a:gd name="T39" fmla="*/ 225 h 287"/>
                  <a:gd name="T40" fmla="*/ 71 w 97"/>
                  <a:gd name="T41" fmla="*/ 257 h 287"/>
                  <a:gd name="T42" fmla="*/ 70 w 97"/>
                  <a:gd name="T43" fmla="*/ 287 h 287"/>
                  <a:gd name="T44" fmla="*/ 87 w 97"/>
                  <a:gd name="T45" fmla="*/ 259 h 287"/>
                  <a:gd name="T46" fmla="*/ 89 w 97"/>
                  <a:gd name="T47" fmla="*/ 227 h 287"/>
                  <a:gd name="T48" fmla="*/ 82 w 97"/>
                  <a:gd name="T49" fmla="*/ 154 h 287"/>
                  <a:gd name="T50" fmla="*/ 92 w 97"/>
                  <a:gd name="T51" fmla="*/ 129 h 287"/>
                  <a:gd name="T52" fmla="*/ 83 w 97"/>
                  <a:gd name="T53" fmla="*/ 78 h 287"/>
                  <a:gd name="T54" fmla="*/ 93 w 97"/>
                  <a:gd name="T55" fmla="*/ 38 h 287"/>
                  <a:gd name="T56" fmla="*/ 37 w 97"/>
                  <a:gd name="T57" fmla="*/ 80 h 287"/>
                  <a:gd name="T58" fmla="*/ 39 w 97"/>
                  <a:gd name="T59" fmla="*/ 93 h 287"/>
                  <a:gd name="T60" fmla="*/ 40 w 97"/>
                  <a:gd name="T61" fmla="*/ 54 h 287"/>
                  <a:gd name="T62" fmla="*/ 35 w 97"/>
                  <a:gd name="T63" fmla="*/ 61 h 287"/>
                  <a:gd name="T64" fmla="*/ 39 w 97"/>
                  <a:gd name="T65" fmla="*/ 47 h 287"/>
                  <a:gd name="T66" fmla="*/ 40 w 97"/>
                  <a:gd name="T67" fmla="*/ 54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7" h="287">
                    <a:moveTo>
                      <a:pt x="93" y="38"/>
                    </a:moveTo>
                    <a:cubicBezTo>
                      <a:pt x="95" y="26"/>
                      <a:pt x="97" y="17"/>
                      <a:pt x="94" y="14"/>
                    </a:cubicBezTo>
                    <a:cubicBezTo>
                      <a:pt x="90" y="11"/>
                      <a:pt x="84" y="13"/>
                      <a:pt x="79" y="9"/>
                    </a:cubicBezTo>
                    <a:cubicBezTo>
                      <a:pt x="74" y="5"/>
                      <a:pt x="73" y="0"/>
                      <a:pt x="71" y="0"/>
                    </a:cubicBezTo>
                    <a:cubicBezTo>
                      <a:pt x="71" y="0"/>
                      <a:pt x="70" y="0"/>
                      <a:pt x="70" y="0"/>
                    </a:cubicBezTo>
                    <a:cubicBezTo>
                      <a:pt x="70" y="0"/>
                      <a:pt x="70" y="0"/>
                      <a:pt x="70" y="0"/>
                    </a:cubicBezTo>
                    <a:cubicBezTo>
                      <a:pt x="67" y="3"/>
                      <a:pt x="57" y="14"/>
                      <a:pt x="57" y="14"/>
                    </a:cubicBezTo>
                    <a:cubicBezTo>
                      <a:pt x="57" y="14"/>
                      <a:pt x="57" y="13"/>
                      <a:pt x="56" y="11"/>
                    </a:cubicBezTo>
                    <a:cubicBezTo>
                      <a:pt x="56" y="9"/>
                      <a:pt x="55" y="7"/>
                      <a:pt x="52" y="8"/>
                    </a:cubicBezTo>
                    <a:cubicBezTo>
                      <a:pt x="49" y="8"/>
                      <a:pt x="51" y="13"/>
                      <a:pt x="47" y="16"/>
                    </a:cubicBezTo>
                    <a:cubicBezTo>
                      <a:pt x="47" y="13"/>
                      <a:pt x="47" y="10"/>
                      <a:pt x="46" y="8"/>
                    </a:cubicBezTo>
                    <a:cubicBezTo>
                      <a:pt x="46" y="8"/>
                      <a:pt x="46" y="8"/>
                      <a:pt x="46" y="8"/>
                    </a:cubicBezTo>
                    <a:cubicBezTo>
                      <a:pt x="46" y="8"/>
                      <a:pt x="45" y="8"/>
                      <a:pt x="45" y="9"/>
                    </a:cubicBezTo>
                    <a:cubicBezTo>
                      <a:pt x="43" y="11"/>
                      <a:pt x="35" y="13"/>
                      <a:pt x="31" y="15"/>
                    </a:cubicBezTo>
                    <a:cubicBezTo>
                      <a:pt x="26" y="16"/>
                      <a:pt x="23" y="19"/>
                      <a:pt x="21" y="24"/>
                    </a:cubicBezTo>
                    <a:cubicBezTo>
                      <a:pt x="18" y="30"/>
                      <a:pt x="15" y="37"/>
                      <a:pt x="10" y="41"/>
                    </a:cubicBezTo>
                    <a:cubicBezTo>
                      <a:pt x="6" y="46"/>
                      <a:pt x="0" y="53"/>
                      <a:pt x="2" y="60"/>
                    </a:cubicBezTo>
                    <a:cubicBezTo>
                      <a:pt x="3" y="67"/>
                      <a:pt x="13" y="72"/>
                      <a:pt x="18" y="69"/>
                    </a:cubicBezTo>
                    <a:cubicBezTo>
                      <a:pt x="24" y="66"/>
                      <a:pt x="26" y="66"/>
                      <a:pt x="26" y="66"/>
                    </a:cubicBezTo>
                    <a:cubicBezTo>
                      <a:pt x="26" y="66"/>
                      <a:pt x="22" y="81"/>
                      <a:pt x="21" y="97"/>
                    </a:cubicBezTo>
                    <a:cubicBezTo>
                      <a:pt x="19" y="112"/>
                      <a:pt x="15" y="127"/>
                      <a:pt x="17" y="128"/>
                    </a:cubicBezTo>
                    <a:cubicBezTo>
                      <a:pt x="20" y="129"/>
                      <a:pt x="23" y="131"/>
                      <a:pt x="23" y="131"/>
                    </a:cubicBezTo>
                    <a:cubicBezTo>
                      <a:pt x="23" y="131"/>
                      <a:pt x="24" y="152"/>
                      <a:pt x="28" y="171"/>
                    </a:cubicBezTo>
                    <a:cubicBezTo>
                      <a:pt x="31" y="190"/>
                      <a:pt x="33" y="198"/>
                      <a:pt x="33" y="209"/>
                    </a:cubicBezTo>
                    <a:cubicBezTo>
                      <a:pt x="34" y="220"/>
                      <a:pt x="35" y="229"/>
                      <a:pt x="34" y="233"/>
                    </a:cubicBezTo>
                    <a:cubicBezTo>
                      <a:pt x="33" y="238"/>
                      <a:pt x="27" y="247"/>
                      <a:pt x="23" y="249"/>
                    </a:cubicBezTo>
                    <a:cubicBezTo>
                      <a:pt x="19" y="251"/>
                      <a:pt x="13" y="251"/>
                      <a:pt x="10" y="252"/>
                    </a:cubicBezTo>
                    <a:cubicBezTo>
                      <a:pt x="7" y="253"/>
                      <a:pt x="5" y="256"/>
                      <a:pt x="11" y="257"/>
                    </a:cubicBezTo>
                    <a:cubicBezTo>
                      <a:pt x="17" y="258"/>
                      <a:pt x="29" y="257"/>
                      <a:pt x="32" y="256"/>
                    </a:cubicBezTo>
                    <a:cubicBezTo>
                      <a:pt x="35" y="255"/>
                      <a:pt x="40" y="252"/>
                      <a:pt x="40" y="252"/>
                    </a:cubicBezTo>
                    <a:cubicBezTo>
                      <a:pt x="40" y="252"/>
                      <a:pt x="38" y="256"/>
                      <a:pt x="45" y="256"/>
                    </a:cubicBezTo>
                    <a:cubicBezTo>
                      <a:pt x="52" y="256"/>
                      <a:pt x="53" y="256"/>
                      <a:pt x="53" y="251"/>
                    </a:cubicBezTo>
                    <a:cubicBezTo>
                      <a:pt x="53" y="247"/>
                      <a:pt x="53" y="242"/>
                      <a:pt x="54" y="239"/>
                    </a:cubicBezTo>
                    <a:cubicBezTo>
                      <a:pt x="55" y="236"/>
                      <a:pt x="50" y="228"/>
                      <a:pt x="53" y="224"/>
                    </a:cubicBezTo>
                    <a:cubicBezTo>
                      <a:pt x="55" y="220"/>
                      <a:pt x="57" y="209"/>
                      <a:pt x="55" y="202"/>
                    </a:cubicBezTo>
                    <a:cubicBezTo>
                      <a:pt x="53" y="196"/>
                      <a:pt x="56" y="190"/>
                      <a:pt x="55" y="185"/>
                    </a:cubicBezTo>
                    <a:cubicBezTo>
                      <a:pt x="54" y="181"/>
                      <a:pt x="54" y="175"/>
                      <a:pt x="54" y="169"/>
                    </a:cubicBezTo>
                    <a:cubicBezTo>
                      <a:pt x="54" y="163"/>
                      <a:pt x="54" y="158"/>
                      <a:pt x="54" y="158"/>
                    </a:cubicBezTo>
                    <a:cubicBezTo>
                      <a:pt x="54" y="158"/>
                      <a:pt x="58" y="182"/>
                      <a:pt x="60" y="189"/>
                    </a:cubicBezTo>
                    <a:cubicBezTo>
                      <a:pt x="61" y="195"/>
                      <a:pt x="63" y="218"/>
                      <a:pt x="63" y="225"/>
                    </a:cubicBezTo>
                    <a:cubicBezTo>
                      <a:pt x="63" y="232"/>
                      <a:pt x="68" y="241"/>
                      <a:pt x="68" y="247"/>
                    </a:cubicBezTo>
                    <a:cubicBezTo>
                      <a:pt x="69" y="253"/>
                      <a:pt x="69" y="257"/>
                      <a:pt x="71" y="257"/>
                    </a:cubicBezTo>
                    <a:cubicBezTo>
                      <a:pt x="72" y="257"/>
                      <a:pt x="69" y="264"/>
                      <a:pt x="68" y="270"/>
                    </a:cubicBezTo>
                    <a:cubicBezTo>
                      <a:pt x="66" y="275"/>
                      <a:pt x="63" y="287"/>
                      <a:pt x="70" y="287"/>
                    </a:cubicBezTo>
                    <a:cubicBezTo>
                      <a:pt x="77" y="287"/>
                      <a:pt x="85" y="284"/>
                      <a:pt x="85" y="276"/>
                    </a:cubicBezTo>
                    <a:cubicBezTo>
                      <a:pt x="86" y="269"/>
                      <a:pt x="85" y="262"/>
                      <a:pt x="87" y="259"/>
                    </a:cubicBezTo>
                    <a:cubicBezTo>
                      <a:pt x="89" y="256"/>
                      <a:pt x="89" y="250"/>
                      <a:pt x="89" y="246"/>
                    </a:cubicBezTo>
                    <a:cubicBezTo>
                      <a:pt x="88" y="242"/>
                      <a:pt x="90" y="235"/>
                      <a:pt x="89" y="227"/>
                    </a:cubicBezTo>
                    <a:cubicBezTo>
                      <a:pt x="88" y="218"/>
                      <a:pt x="88" y="204"/>
                      <a:pt x="86" y="194"/>
                    </a:cubicBezTo>
                    <a:cubicBezTo>
                      <a:pt x="84" y="183"/>
                      <a:pt x="83" y="167"/>
                      <a:pt x="82" y="154"/>
                    </a:cubicBezTo>
                    <a:cubicBezTo>
                      <a:pt x="81" y="141"/>
                      <a:pt x="80" y="135"/>
                      <a:pt x="82" y="133"/>
                    </a:cubicBezTo>
                    <a:cubicBezTo>
                      <a:pt x="83" y="131"/>
                      <a:pt x="90" y="129"/>
                      <a:pt x="92" y="129"/>
                    </a:cubicBezTo>
                    <a:cubicBezTo>
                      <a:pt x="94" y="128"/>
                      <a:pt x="90" y="115"/>
                      <a:pt x="88" y="104"/>
                    </a:cubicBezTo>
                    <a:cubicBezTo>
                      <a:pt x="87" y="93"/>
                      <a:pt x="84" y="86"/>
                      <a:pt x="83" y="78"/>
                    </a:cubicBezTo>
                    <a:cubicBezTo>
                      <a:pt x="81" y="70"/>
                      <a:pt x="81" y="66"/>
                      <a:pt x="84" y="61"/>
                    </a:cubicBezTo>
                    <a:cubicBezTo>
                      <a:pt x="88" y="55"/>
                      <a:pt x="92" y="51"/>
                      <a:pt x="93" y="38"/>
                    </a:cubicBezTo>
                    <a:close/>
                    <a:moveTo>
                      <a:pt x="34" y="92"/>
                    </a:moveTo>
                    <a:cubicBezTo>
                      <a:pt x="34" y="92"/>
                      <a:pt x="35" y="86"/>
                      <a:pt x="37" y="80"/>
                    </a:cubicBezTo>
                    <a:cubicBezTo>
                      <a:pt x="37" y="80"/>
                      <a:pt x="38" y="87"/>
                      <a:pt x="39" y="90"/>
                    </a:cubicBezTo>
                    <a:cubicBezTo>
                      <a:pt x="39" y="92"/>
                      <a:pt x="39" y="93"/>
                      <a:pt x="39" y="93"/>
                    </a:cubicBezTo>
                    <a:lnTo>
                      <a:pt x="34" y="92"/>
                    </a:lnTo>
                    <a:close/>
                    <a:moveTo>
                      <a:pt x="40" y="54"/>
                    </a:moveTo>
                    <a:cubicBezTo>
                      <a:pt x="40" y="58"/>
                      <a:pt x="40" y="60"/>
                      <a:pt x="40" y="60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5" y="61"/>
                      <a:pt x="34" y="57"/>
                      <a:pt x="35" y="53"/>
                    </a:cubicBezTo>
                    <a:cubicBezTo>
                      <a:pt x="37" y="49"/>
                      <a:pt x="38" y="48"/>
                      <a:pt x="39" y="47"/>
                    </a:cubicBezTo>
                    <a:cubicBezTo>
                      <a:pt x="45" y="47"/>
                      <a:pt x="45" y="47"/>
                      <a:pt x="45" y="47"/>
                    </a:cubicBezTo>
                    <a:cubicBezTo>
                      <a:pt x="45" y="47"/>
                      <a:pt x="40" y="50"/>
                      <a:pt x="40" y="54"/>
                    </a:cubicBezTo>
                    <a:close/>
                  </a:path>
                </a:pathLst>
              </a:custGeom>
              <a:solidFill>
                <a:srgbClr val="FCC0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pPr defTabSz="814952"/>
                <a:endParaRPr lang="th-TH" sz="2513">
                  <a:solidFill>
                    <a:prstClr val="black"/>
                  </a:solidFill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5" name="Freeform 8"/>
              <p:cNvSpPr>
                <a:spLocks/>
              </p:cNvSpPr>
              <p:nvPr/>
            </p:nvSpPr>
            <p:spPr bwMode="auto">
              <a:xfrm>
                <a:off x="7604539" y="4756892"/>
                <a:ext cx="566738" cy="873124"/>
              </a:xfrm>
              <a:custGeom>
                <a:avLst/>
                <a:gdLst>
                  <a:gd name="T0" fmla="*/ 1 w 35"/>
                  <a:gd name="T1" fmla="*/ 14 h 54"/>
                  <a:gd name="T2" fmla="*/ 2 w 35"/>
                  <a:gd name="T3" fmla="*/ 19 h 54"/>
                  <a:gd name="T4" fmla="*/ 2 w 35"/>
                  <a:gd name="T5" fmla="*/ 37 h 54"/>
                  <a:gd name="T6" fmla="*/ 6 w 35"/>
                  <a:gd name="T7" fmla="*/ 45 h 54"/>
                  <a:gd name="T8" fmla="*/ 9 w 35"/>
                  <a:gd name="T9" fmla="*/ 50 h 54"/>
                  <a:gd name="T10" fmla="*/ 8 w 35"/>
                  <a:gd name="T11" fmla="*/ 52 h 54"/>
                  <a:gd name="T12" fmla="*/ 13 w 35"/>
                  <a:gd name="T13" fmla="*/ 54 h 54"/>
                  <a:gd name="T14" fmla="*/ 29 w 35"/>
                  <a:gd name="T15" fmla="*/ 44 h 54"/>
                  <a:gd name="T16" fmla="*/ 29 w 35"/>
                  <a:gd name="T17" fmla="*/ 44 h 54"/>
                  <a:gd name="T18" fmla="*/ 29 w 35"/>
                  <a:gd name="T19" fmla="*/ 43 h 54"/>
                  <a:gd name="T20" fmla="*/ 30 w 35"/>
                  <a:gd name="T21" fmla="*/ 38 h 54"/>
                  <a:gd name="T22" fmla="*/ 34 w 35"/>
                  <a:gd name="T23" fmla="*/ 32 h 54"/>
                  <a:gd name="T24" fmla="*/ 35 w 35"/>
                  <a:gd name="T25" fmla="*/ 14 h 54"/>
                  <a:gd name="T26" fmla="*/ 18 w 35"/>
                  <a:gd name="T27" fmla="*/ 1 h 54"/>
                  <a:gd name="T28" fmla="*/ 6 w 35"/>
                  <a:gd name="T29" fmla="*/ 3 h 54"/>
                  <a:gd name="T30" fmla="*/ 1 w 35"/>
                  <a:gd name="T31" fmla="*/ 7 h 54"/>
                  <a:gd name="T32" fmla="*/ 1 w 35"/>
                  <a:gd name="T33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54">
                    <a:moveTo>
                      <a:pt x="1" y="14"/>
                    </a:moveTo>
                    <a:cubicBezTo>
                      <a:pt x="1" y="16"/>
                      <a:pt x="1" y="18"/>
                      <a:pt x="2" y="19"/>
                    </a:cubicBezTo>
                    <a:cubicBezTo>
                      <a:pt x="2" y="23"/>
                      <a:pt x="2" y="35"/>
                      <a:pt x="2" y="37"/>
                    </a:cubicBezTo>
                    <a:cubicBezTo>
                      <a:pt x="3" y="40"/>
                      <a:pt x="4" y="44"/>
                      <a:pt x="6" y="45"/>
                    </a:cubicBezTo>
                    <a:cubicBezTo>
                      <a:pt x="9" y="47"/>
                      <a:pt x="9" y="48"/>
                      <a:pt x="9" y="50"/>
                    </a:cubicBezTo>
                    <a:cubicBezTo>
                      <a:pt x="9" y="51"/>
                      <a:pt x="9" y="52"/>
                      <a:pt x="8" y="52"/>
                    </a:cubicBezTo>
                    <a:cubicBezTo>
                      <a:pt x="10" y="53"/>
                      <a:pt x="12" y="54"/>
                      <a:pt x="13" y="54"/>
                    </a:cubicBezTo>
                    <a:cubicBezTo>
                      <a:pt x="17" y="54"/>
                      <a:pt x="26" y="47"/>
                      <a:pt x="29" y="44"/>
                    </a:cubicBezTo>
                    <a:cubicBezTo>
                      <a:pt x="29" y="44"/>
                      <a:pt x="29" y="44"/>
                      <a:pt x="29" y="44"/>
                    </a:cubicBezTo>
                    <a:cubicBezTo>
                      <a:pt x="29" y="44"/>
                      <a:pt x="29" y="43"/>
                      <a:pt x="29" y="43"/>
                    </a:cubicBezTo>
                    <a:cubicBezTo>
                      <a:pt x="29" y="40"/>
                      <a:pt x="30" y="38"/>
                      <a:pt x="30" y="38"/>
                    </a:cubicBezTo>
                    <a:cubicBezTo>
                      <a:pt x="30" y="38"/>
                      <a:pt x="33" y="35"/>
                      <a:pt x="34" y="32"/>
                    </a:cubicBezTo>
                    <a:cubicBezTo>
                      <a:pt x="35" y="28"/>
                      <a:pt x="35" y="20"/>
                      <a:pt x="35" y="14"/>
                    </a:cubicBezTo>
                    <a:cubicBezTo>
                      <a:pt x="34" y="8"/>
                      <a:pt x="28" y="1"/>
                      <a:pt x="18" y="1"/>
                    </a:cubicBezTo>
                    <a:cubicBezTo>
                      <a:pt x="14" y="0"/>
                      <a:pt x="10" y="1"/>
                      <a:pt x="6" y="3"/>
                    </a:cubicBezTo>
                    <a:cubicBezTo>
                      <a:pt x="5" y="4"/>
                      <a:pt x="2" y="6"/>
                      <a:pt x="1" y="7"/>
                    </a:cubicBezTo>
                    <a:cubicBezTo>
                      <a:pt x="0" y="9"/>
                      <a:pt x="0" y="12"/>
                      <a:pt x="1" y="14"/>
                    </a:cubicBezTo>
                    <a:close/>
                  </a:path>
                </a:pathLst>
              </a:custGeom>
              <a:solidFill>
                <a:srgbClr val="FCC00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pPr defTabSz="814952"/>
                <a:endParaRPr lang="th-TH" sz="2513">
                  <a:solidFill>
                    <a:prstClr val="black"/>
                  </a:solidFill>
                  <a:ea typeface="ＭＳ Ｐゴシック" panose="020B0600070205080204" pitchFamily="34" charset="-128"/>
                </a:endParaRPr>
              </a:p>
            </p:txBody>
          </p:sp>
        </p:grpSp>
      </p:grpSp>
      <p:sp>
        <p:nvSpPr>
          <p:cNvPr id="41" name="Freeform 4"/>
          <p:cNvSpPr>
            <a:spLocks noChangeArrowheads="1"/>
          </p:cNvSpPr>
          <p:nvPr/>
        </p:nvSpPr>
        <p:spPr bwMode="auto">
          <a:xfrm rot="7108406">
            <a:off x="6414386" y="3318367"/>
            <a:ext cx="701220" cy="534919"/>
          </a:xfrm>
          <a:custGeom>
            <a:avLst/>
            <a:gdLst>
              <a:gd name="T0" fmla="*/ 372 w 498"/>
              <a:gd name="T1" fmla="*/ 337 h 391"/>
              <a:gd name="T2" fmla="*/ 372 w 498"/>
              <a:gd name="T3" fmla="*/ 337 h 391"/>
              <a:gd name="T4" fmla="*/ 53 w 498"/>
              <a:gd name="T5" fmla="*/ 337 h 391"/>
              <a:gd name="T6" fmla="*/ 53 w 498"/>
              <a:gd name="T7" fmla="*/ 116 h 391"/>
              <a:gd name="T8" fmla="*/ 116 w 498"/>
              <a:gd name="T9" fmla="*/ 116 h 391"/>
              <a:gd name="T10" fmla="*/ 169 w 498"/>
              <a:gd name="T11" fmla="*/ 71 h 391"/>
              <a:gd name="T12" fmla="*/ 27 w 498"/>
              <a:gd name="T13" fmla="*/ 71 h 391"/>
              <a:gd name="T14" fmla="*/ 0 w 498"/>
              <a:gd name="T15" fmla="*/ 89 h 391"/>
              <a:gd name="T16" fmla="*/ 0 w 498"/>
              <a:gd name="T17" fmla="*/ 363 h 391"/>
              <a:gd name="T18" fmla="*/ 27 w 498"/>
              <a:gd name="T19" fmla="*/ 390 h 391"/>
              <a:gd name="T20" fmla="*/ 399 w 498"/>
              <a:gd name="T21" fmla="*/ 390 h 391"/>
              <a:gd name="T22" fmla="*/ 426 w 498"/>
              <a:gd name="T23" fmla="*/ 363 h 391"/>
              <a:gd name="T24" fmla="*/ 426 w 498"/>
              <a:gd name="T25" fmla="*/ 275 h 391"/>
              <a:gd name="T26" fmla="*/ 372 w 498"/>
              <a:gd name="T27" fmla="*/ 310 h 391"/>
              <a:gd name="T28" fmla="*/ 372 w 498"/>
              <a:gd name="T29" fmla="*/ 337 h 391"/>
              <a:gd name="T30" fmla="*/ 328 w 498"/>
              <a:gd name="T31" fmla="*/ 169 h 391"/>
              <a:gd name="T32" fmla="*/ 328 w 498"/>
              <a:gd name="T33" fmla="*/ 169 h 391"/>
              <a:gd name="T34" fmla="*/ 328 w 498"/>
              <a:gd name="T35" fmla="*/ 257 h 391"/>
              <a:gd name="T36" fmla="*/ 497 w 498"/>
              <a:gd name="T37" fmla="*/ 125 h 391"/>
              <a:gd name="T38" fmla="*/ 328 w 498"/>
              <a:gd name="T39" fmla="*/ 0 h 391"/>
              <a:gd name="T40" fmla="*/ 328 w 498"/>
              <a:gd name="T41" fmla="*/ 80 h 391"/>
              <a:gd name="T42" fmla="*/ 133 w 498"/>
              <a:gd name="T43" fmla="*/ 275 h 391"/>
              <a:gd name="T44" fmla="*/ 328 w 498"/>
              <a:gd name="T45" fmla="*/ 169 h 391"/>
              <a:gd name="connsiteX0" fmla="*/ 7470 w 9980"/>
              <a:gd name="connsiteY0" fmla="*/ 8619 h 9974"/>
              <a:gd name="connsiteX1" fmla="*/ 7470 w 9980"/>
              <a:gd name="connsiteY1" fmla="*/ 8619 h 9974"/>
              <a:gd name="connsiteX2" fmla="*/ 1064 w 9980"/>
              <a:gd name="connsiteY2" fmla="*/ 8619 h 9974"/>
              <a:gd name="connsiteX3" fmla="*/ 1064 w 9980"/>
              <a:gd name="connsiteY3" fmla="*/ 2967 h 9974"/>
              <a:gd name="connsiteX4" fmla="*/ 2329 w 9980"/>
              <a:gd name="connsiteY4" fmla="*/ 2967 h 9974"/>
              <a:gd name="connsiteX5" fmla="*/ 3394 w 9980"/>
              <a:gd name="connsiteY5" fmla="*/ 1816 h 9974"/>
              <a:gd name="connsiteX6" fmla="*/ 542 w 9980"/>
              <a:gd name="connsiteY6" fmla="*/ 1816 h 9974"/>
              <a:gd name="connsiteX7" fmla="*/ 0 w 9980"/>
              <a:gd name="connsiteY7" fmla="*/ 2276 h 9974"/>
              <a:gd name="connsiteX8" fmla="*/ 0 w 9980"/>
              <a:gd name="connsiteY8" fmla="*/ 9284 h 9974"/>
              <a:gd name="connsiteX9" fmla="*/ 542 w 9980"/>
              <a:gd name="connsiteY9" fmla="*/ 9974 h 9974"/>
              <a:gd name="connsiteX10" fmla="*/ 8012 w 9980"/>
              <a:gd name="connsiteY10" fmla="*/ 9974 h 9974"/>
              <a:gd name="connsiteX11" fmla="*/ 8554 w 9980"/>
              <a:gd name="connsiteY11" fmla="*/ 9284 h 9974"/>
              <a:gd name="connsiteX12" fmla="*/ 7470 w 9980"/>
              <a:gd name="connsiteY12" fmla="*/ 7928 h 9974"/>
              <a:gd name="connsiteX13" fmla="*/ 7470 w 9980"/>
              <a:gd name="connsiteY13" fmla="*/ 8619 h 9974"/>
              <a:gd name="connsiteX14" fmla="*/ 6586 w 9980"/>
              <a:gd name="connsiteY14" fmla="*/ 4322 h 9974"/>
              <a:gd name="connsiteX15" fmla="*/ 6586 w 9980"/>
              <a:gd name="connsiteY15" fmla="*/ 4322 h 9974"/>
              <a:gd name="connsiteX16" fmla="*/ 6586 w 9980"/>
              <a:gd name="connsiteY16" fmla="*/ 6573 h 9974"/>
              <a:gd name="connsiteX17" fmla="*/ 9980 w 9980"/>
              <a:gd name="connsiteY17" fmla="*/ 3197 h 9974"/>
              <a:gd name="connsiteX18" fmla="*/ 6586 w 9980"/>
              <a:gd name="connsiteY18" fmla="*/ 0 h 9974"/>
              <a:gd name="connsiteX19" fmla="*/ 6586 w 9980"/>
              <a:gd name="connsiteY19" fmla="*/ 2046 h 9974"/>
              <a:gd name="connsiteX20" fmla="*/ 2671 w 9980"/>
              <a:gd name="connsiteY20" fmla="*/ 7033 h 9974"/>
              <a:gd name="connsiteX21" fmla="*/ 6586 w 9980"/>
              <a:gd name="connsiteY21" fmla="*/ 4322 h 9974"/>
              <a:gd name="connsiteX0" fmla="*/ 7485 w 10000"/>
              <a:gd name="connsiteY0" fmla="*/ 8641 h 10152"/>
              <a:gd name="connsiteX1" fmla="*/ 7485 w 10000"/>
              <a:gd name="connsiteY1" fmla="*/ 8641 h 10152"/>
              <a:gd name="connsiteX2" fmla="*/ 1066 w 10000"/>
              <a:gd name="connsiteY2" fmla="*/ 8641 h 10152"/>
              <a:gd name="connsiteX3" fmla="*/ 1066 w 10000"/>
              <a:gd name="connsiteY3" fmla="*/ 2975 h 10152"/>
              <a:gd name="connsiteX4" fmla="*/ 2334 w 10000"/>
              <a:gd name="connsiteY4" fmla="*/ 2975 h 10152"/>
              <a:gd name="connsiteX5" fmla="*/ 3401 w 10000"/>
              <a:gd name="connsiteY5" fmla="*/ 1821 h 10152"/>
              <a:gd name="connsiteX6" fmla="*/ 543 w 10000"/>
              <a:gd name="connsiteY6" fmla="*/ 1821 h 10152"/>
              <a:gd name="connsiteX7" fmla="*/ 0 w 10000"/>
              <a:gd name="connsiteY7" fmla="*/ 2282 h 10152"/>
              <a:gd name="connsiteX8" fmla="*/ 0 w 10000"/>
              <a:gd name="connsiteY8" fmla="*/ 9308 h 10152"/>
              <a:gd name="connsiteX9" fmla="*/ 543 w 10000"/>
              <a:gd name="connsiteY9" fmla="*/ 10000 h 10152"/>
              <a:gd name="connsiteX10" fmla="*/ 8028 w 10000"/>
              <a:gd name="connsiteY10" fmla="*/ 10000 h 10152"/>
              <a:gd name="connsiteX11" fmla="*/ 7485 w 10000"/>
              <a:gd name="connsiteY11" fmla="*/ 7949 h 10152"/>
              <a:gd name="connsiteX12" fmla="*/ 7485 w 10000"/>
              <a:gd name="connsiteY12" fmla="*/ 8641 h 10152"/>
              <a:gd name="connsiteX13" fmla="*/ 6599 w 10000"/>
              <a:gd name="connsiteY13" fmla="*/ 4333 h 10152"/>
              <a:gd name="connsiteX14" fmla="*/ 6599 w 10000"/>
              <a:gd name="connsiteY14" fmla="*/ 4333 h 10152"/>
              <a:gd name="connsiteX15" fmla="*/ 6599 w 10000"/>
              <a:gd name="connsiteY15" fmla="*/ 6590 h 10152"/>
              <a:gd name="connsiteX16" fmla="*/ 10000 w 10000"/>
              <a:gd name="connsiteY16" fmla="*/ 3205 h 10152"/>
              <a:gd name="connsiteX17" fmla="*/ 6599 w 10000"/>
              <a:gd name="connsiteY17" fmla="*/ 0 h 10152"/>
              <a:gd name="connsiteX18" fmla="*/ 6599 w 10000"/>
              <a:gd name="connsiteY18" fmla="*/ 2051 h 10152"/>
              <a:gd name="connsiteX19" fmla="*/ 2676 w 10000"/>
              <a:gd name="connsiteY19" fmla="*/ 7051 h 10152"/>
              <a:gd name="connsiteX20" fmla="*/ 6599 w 10000"/>
              <a:gd name="connsiteY20" fmla="*/ 4333 h 10152"/>
              <a:gd name="connsiteX0" fmla="*/ 7485 w 10000"/>
              <a:gd name="connsiteY0" fmla="*/ 8641 h 10100"/>
              <a:gd name="connsiteX1" fmla="*/ 7485 w 10000"/>
              <a:gd name="connsiteY1" fmla="*/ 8641 h 10100"/>
              <a:gd name="connsiteX2" fmla="*/ 1066 w 10000"/>
              <a:gd name="connsiteY2" fmla="*/ 8641 h 10100"/>
              <a:gd name="connsiteX3" fmla="*/ 1066 w 10000"/>
              <a:gd name="connsiteY3" fmla="*/ 2975 h 10100"/>
              <a:gd name="connsiteX4" fmla="*/ 2334 w 10000"/>
              <a:gd name="connsiteY4" fmla="*/ 2975 h 10100"/>
              <a:gd name="connsiteX5" fmla="*/ 3401 w 10000"/>
              <a:gd name="connsiteY5" fmla="*/ 1821 h 10100"/>
              <a:gd name="connsiteX6" fmla="*/ 543 w 10000"/>
              <a:gd name="connsiteY6" fmla="*/ 1821 h 10100"/>
              <a:gd name="connsiteX7" fmla="*/ 0 w 10000"/>
              <a:gd name="connsiteY7" fmla="*/ 2282 h 10100"/>
              <a:gd name="connsiteX8" fmla="*/ 0 w 10000"/>
              <a:gd name="connsiteY8" fmla="*/ 9308 h 10100"/>
              <a:gd name="connsiteX9" fmla="*/ 543 w 10000"/>
              <a:gd name="connsiteY9" fmla="*/ 10000 h 10100"/>
              <a:gd name="connsiteX10" fmla="*/ 8028 w 10000"/>
              <a:gd name="connsiteY10" fmla="*/ 10000 h 10100"/>
              <a:gd name="connsiteX11" fmla="*/ 7485 w 10000"/>
              <a:gd name="connsiteY11" fmla="*/ 8641 h 10100"/>
              <a:gd name="connsiteX12" fmla="*/ 6599 w 10000"/>
              <a:gd name="connsiteY12" fmla="*/ 4333 h 10100"/>
              <a:gd name="connsiteX13" fmla="*/ 6599 w 10000"/>
              <a:gd name="connsiteY13" fmla="*/ 4333 h 10100"/>
              <a:gd name="connsiteX14" fmla="*/ 6599 w 10000"/>
              <a:gd name="connsiteY14" fmla="*/ 6590 h 10100"/>
              <a:gd name="connsiteX15" fmla="*/ 10000 w 10000"/>
              <a:gd name="connsiteY15" fmla="*/ 3205 h 10100"/>
              <a:gd name="connsiteX16" fmla="*/ 6599 w 10000"/>
              <a:gd name="connsiteY16" fmla="*/ 0 h 10100"/>
              <a:gd name="connsiteX17" fmla="*/ 6599 w 10000"/>
              <a:gd name="connsiteY17" fmla="*/ 2051 h 10100"/>
              <a:gd name="connsiteX18" fmla="*/ 2676 w 10000"/>
              <a:gd name="connsiteY18" fmla="*/ 7051 h 10100"/>
              <a:gd name="connsiteX19" fmla="*/ 6599 w 10000"/>
              <a:gd name="connsiteY19" fmla="*/ 4333 h 10100"/>
              <a:gd name="connsiteX0" fmla="*/ 7682 w 10197"/>
              <a:gd name="connsiteY0" fmla="*/ 8641 h 10022"/>
              <a:gd name="connsiteX1" fmla="*/ 7682 w 10197"/>
              <a:gd name="connsiteY1" fmla="*/ 8641 h 10022"/>
              <a:gd name="connsiteX2" fmla="*/ 1263 w 10197"/>
              <a:gd name="connsiteY2" fmla="*/ 8641 h 10022"/>
              <a:gd name="connsiteX3" fmla="*/ 1263 w 10197"/>
              <a:gd name="connsiteY3" fmla="*/ 2975 h 10022"/>
              <a:gd name="connsiteX4" fmla="*/ 2531 w 10197"/>
              <a:gd name="connsiteY4" fmla="*/ 2975 h 10022"/>
              <a:gd name="connsiteX5" fmla="*/ 3598 w 10197"/>
              <a:gd name="connsiteY5" fmla="*/ 1821 h 10022"/>
              <a:gd name="connsiteX6" fmla="*/ 740 w 10197"/>
              <a:gd name="connsiteY6" fmla="*/ 1821 h 10022"/>
              <a:gd name="connsiteX7" fmla="*/ 197 w 10197"/>
              <a:gd name="connsiteY7" fmla="*/ 2282 h 10022"/>
              <a:gd name="connsiteX8" fmla="*/ 197 w 10197"/>
              <a:gd name="connsiteY8" fmla="*/ 9308 h 10022"/>
              <a:gd name="connsiteX9" fmla="*/ 740 w 10197"/>
              <a:gd name="connsiteY9" fmla="*/ 10000 h 10022"/>
              <a:gd name="connsiteX10" fmla="*/ 7682 w 10197"/>
              <a:gd name="connsiteY10" fmla="*/ 8641 h 10022"/>
              <a:gd name="connsiteX11" fmla="*/ 6796 w 10197"/>
              <a:gd name="connsiteY11" fmla="*/ 4333 h 10022"/>
              <a:gd name="connsiteX12" fmla="*/ 6796 w 10197"/>
              <a:gd name="connsiteY12" fmla="*/ 4333 h 10022"/>
              <a:gd name="connsiteX13" fmla="*/ 6796 w 10197"/>
              <a:gd name="connsiteY13" fmla="*/ 6590 h 10022"/>
              <a:gd name="connsiteX14" fmla="*/ 10197 w 10197"/>
              <a:gd name="connsiteY14" fmla="*/ 3205 h 10022"/>
              <a:gd name="connsiteX15" fmla="*/ 6796 w 10197"/>
              <a:gd name="connsiteY15" fmla="*/ 0 h 10022"/>
              <a:gd name="connsiteX16" fmla="*/ 6796 w 10197"/>
              <a:gd name="connsiteY16" fmla="*/ 2051 h 10022"/>
              <a:gd name="connsiteX17" fmla="*/ 2873 w 10197"/>
              <a:gd name="connsiteY17" fmla="*/ 7051 h 10022"/>
              <a:gd name="connsiteX18" fmla="*/ 6796 w 10197"/>
              <a:gd name="connsiteY18" fmla="*/ 4333 h 10022"/>
              <a:gd name="connsiteX0" fmla="*/ 740 w 10197"/>
              <a:gd name="connsiteY0" fmla="*/ 10000 h 10022"/>
              <a:gd name="connsiteX1" fmla="*/ 7682 w 10197"/>
              <a:gd name="connsiteY1" fmla="*/ 8641 h 10022"/>
              <a:gd name="connsiteX2" fmla="*/ 1263 w 10197"/>
              <a:gd name="connsiteY2" fmla="*/ 8641 h 10022"/>
              <a:gd name="connsiteX3" fmla="*/ 1263 w 10197"/>
              <a:gd name="connsiteY3" fmla="*/ 2975 h 10022"/>
              <a:gd name="connsiteX4" fmla="*/ 2531 w 10197"/>
              <a:gd name="connsiteY4" fmla="*/ 2975 h 10022"/>
              <a:gd name="connsiteX5" fmla="*/ 3598 w 10197"/>
              <a:gd name="connsiteY5" fmla="*/ 1821 h 10022"/>
              <a:gd name="connsiteX6" fmla="*/ 740 w 10197"/>
              <a:gd name="connsiteY6" fmla="*/ 1821 h 10022"/>
              <a:gd name="connsiteX7" fmla="*/ 197 w 10197"/>
              <a:gd name="connsiteY7" fmla="*/ 2282 h 10022"/>
              <a:gd name="connsiteX8" fmla="*/ 197 w 10197"/>
              <a:gd name="connsiteY8" fmla="*/ 9308 h 10022"/>
              <a:gd name="connsiteX9" fmla="*/ 740 w 10197"/>
              <a:gd name="connsiteY9" fmla="*/ 10000 h 10022"/>
              <a:gd name="connsiteX10" fmla="*/ 6796 w 10197"/>
              <a:gd name="connsiteY10" fmla="*/ 4333 h 10022"/>
              <a:gd name="connsiteX11" fmla="*/ 6796 w 10197"/>
              <a:gd name="connsiteY11" fmla="*/ 4333 h 10022"/>
              <a:gd name="connsiteX12" fmla="*/ 6796 w 10197"/>
              <a:gd name="connsiteY12" fmla="*/ 6590 h 10022"/>
              <a:gd name="connsiteX13" fmla="*/ 10197 w 10197"/>
              <a:gd name="connsiteY13" fmla="*/ 3205 h 10022"/>
              <a:gd name="connsiteX14" fmla="*/ 6796 w 10197"/>
              <a:gd name="connsiteY14" fmla="*/ 0 h 10022"/>
              <a:gd name="connsiteX15" fmla="*/ 6796 w 10197"/>
              <a:gd name="connsiteY15" fmla="*/ 2051 h 10022"/>
              <a:gd name="connsiteX16" fmla="*/ 2873 w 10197"/>
              <a:gd name="connsiteY16" fmla="*/ 7051 h 10022"/>
              <a:gd name="connsiteX17" fmla="*/ 6796 w 10197"/>
              <a:gd name="connsiteY17" fmla="*/ 4333 h 10022"/>
              <a:gd name="connsiteX0" fmla="*/ 554 w 10554"/>
              <a:gd name="connsiteY0" fmla="*/ 9308 h 9666"/>
              <a:gd name="connsiteX1" fmla="*/ 8039 w 10554"/>
              <a:gd name="connsiteY1" fmla="*/ 8641 h 9666"/>
              <a:gd name="connsiteX2" fmla="*/ 1620 w 10554"/>
              <a:gd name="connsiteY2" fmla="*/ 8641 h 9666"/>
              <a:gd name="connsiteX3" fmla="*/ 1620 w 10554"/>
              <a:gd name="connsiteY3" fmla="*/ 2975 h 9666"/>
              <a:gd name="connsiteX4" fmla="*/ 2888 w 10554"/>
              <a:gd name="connsiteY4" fmla="*/ 2975 h 9666"/>
              <a:gd name="connsiteX5" fmla="*/ 3955 w 10554"/>
              <a:gd name="connsiteY5" fmla="*/ 1821 h 9666"/>
              <a:gd name="connsiteX6" fmla="*/ 1097 w 10554"/>
              <a:gd name="connsiteY6" fmla="*/ 1821 h 9666"/>
              <a:gd name="connsiteX7" fmla="*/ 554 w 10554"/>
              <a:gd name="connsiteY7" fmla="*/ 2282 h 9666"/>
              <a:gd name="connsiteX8" fmla="*/ 554 w 10554"/>
              <a:gd name="connsiteY8" fmla="*/ 9308 h 9666"/>
              <a:gd name="connsiteX9" fmla="*/ 7153 w 10554"/>
              <a:gd name="connsiteY9" fmla="*/ 4333 h 9666"/>
              <a:gd name="connsiteX10" fmla="*/ 7153 w 10554"/>
              <a:gd name="connsiteY10" fmla="*/ 4333 h 9666"/>
              <a:gd name="connsiteX11" fmla="*/ 7153 w 10554"/>
              <a:gd name="connsiteY11" fmla="*/ 6590 h 9666"/>
              <a:gd name="connsiteX12" fmla="*/ 10554 w 10554"/>
              <a:gd name="connsiteY12" fmla="*/ 3205 h 9666"/>
              <a:gd name="connsiteX13" fmla="*/ 7153 w 10554"/>
              <a:gd name="connsiteY13" fmla="*/ 0 h 9666"/>
              <a:gd name="connsiteX14" fmla="*/ 7153 w 10554"/>
              <a:gd name="connsiteY14" fmla="*/ 2051 h 9666"/>
              <a:gd name="connsiteX15" fmla="*/ 3230 w 10554"/>
              <a:gd name="connsiteY15" fmla="*/ 7051 h 9666"/>
              <a:gd name="connsiteX16" fmla="*/ 7153 w 10554"/>
              <a:gd name="connsiteY16" fmla="*/ 4333 h 9666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535 w 10000"/>
              <a:gd name="connsiteY3" fmla="*/ 3078 h 10000"/>
              <a:gd name="connsiteX4" fmla="*/ 2736 w 10000"/>
              <a:gd name="connsiteY4" fmla="*/ 3078 h 10000"/>
              <a:gd name="connsiteX5" fmla="*/ 1039 w 10000"/>
              <a:gd name="connsiteY5" fmla="*/ 1884 h 10000"/>
              <a:gd name="connsiteX6" fmla="*/ 525 w 10000"/>
              <a:gd name="connsiteY6" fmla="*/ 2361 h 10000"/>
              <a:gd name="connsiteX7" fmla="*/ 525 w 10000"/>
              <a:gd name="connsiteY7" fmla="*/ 9630 h 10000"/>
              <a:gd name="connsiteX8" fmla="*/ 6778 w 10000"/>
              <a:gd name="connsiteY8" fmla="*/ 4483 h 10000"/>
              <a:gd name="connsiteX9" fmla="*/ 6778 w 10000"/>
              <a:gd name="connsiteY9" fmla="*/ 4483 h 10000"/>
              <a:gd name="connsiteX10" fmla="*/ 6778 w 10000"/>
              <a:gd name="connsiteY10" fmla="*/ 6818 h 10000"/>
              <a:gd name="connsiteX11" fmla="*/ 10000 w 10000"/>
              <a:gd name="connsiteY11" fmla="*/ 3316 h 10000"/>
              <a:gd name="connsiteX12" fmla="*/ 6778 w 10000"/>
              <a:gd name="connsiteY12" fmla="*/ 0 h 10000"/>
              <a:gd name="connsiteX13" fmla="*/ 6778 w 10000"/>
              <a:gd name="connsiteY13" fmla="*/ 2122 h 10000"/>
              <a:gd name="connsiteX14" fmla="*/ 3060 w 10000"/>
              <a:gd name="connsiteY14" fmla="*/ 7295 h 10000"/>
              <a:gd name="connsiteX15" fmla="*/ 6778 w 10000"/>
              <a:gd name="connsiteY15" fmla="*/ 4483 h 10000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535 w 10000"/>
              <a:gd name="connsiteY3" fmla="*/ 3078 h 10000"/>
              <a:gd name="connsiteX4" fmla="*/ 1039 w 10000"/>
              <a:gd name="connsiteY4" fmla="*/ 1884 h 10000"/>
              <a:gd name="connsiteX5" fmla="*/ 525 w 10000"/>
              <a:gd name="connsiteY5" fmla="*/ 2361 h 10000"/>
              <a:gd name="connsiteX6" fmla="*/ 525 w 10000"/>
              <a:gd name="connsiteY6" fmla="*/ 9630 h 10000"/>
              <a:gd name="connsiteX7" fmla="*/ 6778 w 10000"/>
              <a:gd name="connsiteY7" fmla="*/ 4483 h 10000"/>
              <a:gd name="connsiteX8" fmla="*/ 6778 w 10000"/>
              <a:gd name="connsiteY8" fmla="*/ 4483 h 10000"/>
              <a:gd name="connsiteX9" fmla="*/ 6778 w 10000"/>
              <a:gd name="connsiteY9" fmla="*/ 6818 h 10000"/>
              <a:gd name="connsiteX10" fmla="*/ 10000 w 10000"/>
              <a:gd name="connsiteY10" fmla="*/ 3316 h 10000"/>
              <a:gd name="connsiteX11" fmla="*/ 6778 w 10000"/>
              <a:gd name="connsiteY11" fmla="*/ 0 h 10000"/>
              <a:gd name="connsiteX12" fmla="*/ 6778 w 10000"/>
              <a:gd name="connsiteY12" fmla="*/ 2122 h 10000"/>
              <a:gd name="connsiteX13" fmla="*/ 3060 w 10000"/>
              <a:gd name="connsiteY13" fmla="*/ 7295 h 10000"/>
              <a:gd name="connsiteX14" fmla="*/ 6778 w 10000"/>
              <a:gd name="connsiteY14" fmla="*/ 4483 h 10000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039 w 10000"/>
              <a:gd name="connsiteY3" fmla="*/ 1884 h 10000"/>
              <a:gd name="connsiteX4" fmla="*/ 525 w 10000"/>
              <a:gd name="connsiteY4" fmla="*/ 2361 h 10000"/>
              <a:gd name="connsiteX5" fmla="*/ 525 w 10000"/>
              <a:gd name="connsiteY5" fmla="*/ 9630 h 10000"/>
              <a:gd name="connsiteX6" fmla="*/ 6778 w 10000"/>
              <a:gd name="connsiteY6" fmla="*/ 4483 h 10000"/>
              <a:gd name="connsiteX7" fmla="*/ 6778 w 10000"/>
              <a:gd name="connsiteY7" fmla="*/ 4483 h 10000"/>
              <a:gd name="connsiteX8" fmla="*/ 6778 w 10000"/>
              <a:gd name="connsiteY8" fmla="*/ 6818 h 10000"/>
              <a:gd name="connsiteX9" fmla="*/ 10000 w 10000"/>
              <a:gd name="connsiteY9" fmla="*/ 3316 h 10000"/>
              <a:gd name="connsiteX10" fmla="*/ 6778 w 10000"/>
              <a:gd name="connsiteY10" fmla="*/ 0 h 10000"/>
              <a:gd name="connsiteX11" fmla="*/ 6778 w 10000"/>
              <a:gd name="connsiteY11" fmla="*/ 2122 h 10000"/>
              <a:gd name="connsiteX12" fmla="*/ 3060 w 10000"/>
              <a:gd name="connsiteY12" fmla="*/ 7295 h 10000"/>
              <a:gd name="connsiteX13" fmla="*/ 6778 w 10000"/>
              <a:gd name="connsiteY13" fmla="*/ 4483 h 10000"/>
              <a:gd name="connsiteX0" fmla="*/ 564 w 10039"/>
              <a:gd name="connsiteY0" fmla="*/ 9630 h 10000"/>
              <a:gd name="connsiteX1" fmla="*/ 7656 w 10039"/>
              <a:gd name="connsiteY1" fmla="*/ 8940 h 10000"/>
              <a:gd name="connsiteX2" fmla="*/ 1574 w 10039"/>
              <a:gd name="connsiteY2" fmla="*/ 8940 h 10000"/>
              <a:gd name="connsiteX3" fmla="*/ 564 w 10039"/>
              <a:gd name="connsiteY3" fmla="*/ 2361 h 10000"/>
              <a:gd name="connsiteX4" fmla="*/ 564 w 10039"/>
              <a:gd name="connsiteY4" fmla="*/ 9630 h 10000"/>
              <a:gd name="connsiteX5" fmla="*/ 6817 w 10039"/>
              <a:gd name="connsiteY5" fmla="*/ 4483 h 10000"/>
              <a:gd name="connsiteX6" fmla="*/ 6817 w 10039"/>
              <a:gd name="connsiteY6" fmla="*/ 4483 h 10000"/>
              <a:gd name="connsiteX7" fmla="*/ 6817 w 10039"/>
              <a:gd name="connsiteY7" fmla="*/ 6818 h 10000"/>
              <a:gd name="connsiteX8" fmla="*/ 10039 w 10039"/>
              <a:gd name="connsiteY8" fmla="*/ 3316 h 10000"/>
              <a:gd name="connsiteX9" fmla="*/ 6817 w 10039"/>
              <a:gd name="connsiteY9" fmla="*/ 0 h 10000"/>
              <a:gd name="connsiteX10" fmla="*/ 6817 w 10039"/>
              <a:gd name="connsiteY10" fmla="*/ 2122 h 10000"/>
              <a:gd name="connsiteX11" fmla="*/ 3099 w 10039"/>
              <a:gd name="connsiteY11" fmla="*/ 7295 h 10000"/>
              <a:gd name="connsiteX12" fmla="*/ 6817 w 10039"/>
              <a:gd name="connsiteY12" fmla="*/ 4483 h 10000"/>
              <a:gd name="connsiteX0" fmla="*/ 454 w 9929"/>
              <a:gd name="connsiteY0" fmla="*/ 9630 h 10000"/>
              <a:gd name="connsiteX1" fmla="*/ 7546 w 9929"/>
              <a:gd name="connsiteY1" fmla="*/ 8940 h 10000"/>
              <a:gd name="connsiteX2" fmla="*/ 1464 w 9929"/>
              <a:gd name="connsiteY2" fmla="*/ 8940 h 10000"/>
              <a:gd name="connsiteX3" fmla="*/ 454 w 9929"/>
              <a:gd name="connsiteY3" fmla="*/ 9630 h 10000"/>
              <a:gd name="connsiteX4" fmla="*/ 6707 w 9929"/>
              <a:gd name="connsiteY4" fmla="*/ 4483 h 10000"/>
              <a:gd name="connsiteX5" fmla="*/ 6707 w 9929"/>
              <a:gd name="connsiteY5" fmla="*/ 4483 h 10000"/>
              <a:gd name="connsiteX6" fmla="*/ 6707 w 9929"/>
              <a:gd name="connsiteY6" fmla="*/ 6818 h 10000"/>
              <a:gd name="connsiteX7" fmla="*/ 9929 w 9929"/>
              <a:gd name="connsiteY7" fmla="*/ 3316 h 10000"/>
              <a:gd name="connsiteX8" fmla="*/ 6707 w 9929"/>
              <a:gd name="connsiteY8" fmla="*/ 0 h 10000"/>
              <a:gd name="connsiteX9" fmla="*/ 6707 w 9929"/>
              <a:gd name="connsiteY9" fmla="*/ 2122 h 10000"/>
              <a:gd name="connsiteX10" fmla="*/ 2989 w 9929"/>
              <a:gd name="connsiteY10" fmla="*/ 7295 h 10000"/>
              <a:gd name="connsiteX11" fmla="*/ 6707 w 9929"/>
              <a:gd name="connsiteY11" fmla="*/ 4483 h 10000"/>
              <a:gd name="connsiteX0" fmla="*/ 0 w 8526"/>
              <a:gd name="connsiteY0" fmla="*/ 8940 h 8940"/>
              <a:gd name="connsiteX1" fmla="*/ 6126 w 8526"/>
              <a:gd name="connsiteY1" fmla="*/ 8940 h 8940"/>
              <a:gd name="connsiteX2" fmla="*/ 0 w 8526"/>
              <a:gd name="connsiteY2" fmla="*/ 8940 h 8940"/>
              <a:gd name="connsiteX3" fmla="*/ 5281 w 8526"/>
              <a:gd name="connsiteY3" fmla="*/ 4483 h 8940"/>
              <a:gd name="connsiteX4" fmla="*/ 5281 w 8526"/>
              <a:gd name="connsiteY4" fmla="*/ 4483 h 8940"/>
              <a:gd name="connsiteX5" fmla="*/ 5281 w 8526"/>
              <a:gd name="connsiteY5" fmla="*/ 6818 h 8940"/>
              <a:gd name="connsiteX6" fmla="*/ 8526 w 8526"/>
              <a:gd name="connsiteY6" fmla="*/ 3316 h 8940"/>
              <a:gd name="connsiteX7" fmla="*/ 5281 w 8526"/>
              <a:gd name="connsiteY7" fmla="*/ 0 h 8940"/>
              <a:gd name="connsiteX8" fmla="*/ 5281 w 8526"/>
              <a:gd name="connsiteY8" fmla="*/ 2122 h 8940"/>
              <a:gd name="connsiteX9" fmla="*/ 1536 w 8526"/>
              <a:gd name="connsiteY9" fmla="*/ 7295 h 8940"/>
              <a:gd name="connsiteX10" fmla="*/ 5281 w 8526"/>
              <a:gd name="connsiteY10" fmla="*/ 4483 h 8940"/>
              <a:gd name="connsiteX0" fmla="*/ 4392 w 8198"/>
              <a:gd name="connsiteY0" fmla="*/ 5015 h 8160"/>
              <a:gd name="connsiteX1" fmla="*/ 4392 w 8198"/>
              <a:gd name="connsiteY1" fmla="*/ 5015 h 8160"/>
              <a:gd name="connsiteX2" fmla="*/ 4392 w 8198"/>
              <a:gd name="connsiteY2" fmla="*/ 7626 h 8160"/>
              <a:gd name="connsiteX3" fmla="*/ 8198 w 8198"/>
              <a:gd name="connsiteY3" fmla="*/ 3709 h 8160"/>
              <a:gd name="connsiteX4" fmla="*/ 4392 w 8198"/>
              <a:gd name="connsiteY4" fmla="*/ 0 h 8160"/>
              <a:gd name="connsiteX5" fmla="*/ 4392 w 8198"/>
              <a:gd name="connsiteY5" fmla="*/ 2374 h 8160"/>
              <a:gd name="connsiteX6" fmla="*/ 0 w 8198"/>
              <a:gd name="connsiteY6" fmla="*/ 8160 h 8160"/>
              <a:gd name="connsiteX7" fmla="*/ 4392 w 8198"/>
              <a:gd name="connsiteY7" fmla="*/ 5015 h 8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8" h="8160">
                <a:moveTo>
                  <a:pt x="4392" y="5015"/>
                </a:moveTo>
                <a:lnTo>
                  <a:pt x="4392" y="5015"/>
                </a:lnTo>
                <a:lnTo>
                  <a:pt x="4392" y="7626"/>
                </a:lnTo>
                <a:lnTo>
                  <a:pt x="8198" y="3709"/>
                </a:lnTo>
                <a:lnTo>
                  <a:pt x="4392" y="0"/>
                </a:lnTo>
                <a:lnTo>
                  <a:pt x="4392" y="2374"/>
                </a:lnTo>
                <a:cubicBezTo>
                  <a:pt x="0" y="2374"/>
                  <a:pt x="0" y="8160"/>
                  <a:pt x="0" y="8160"/>
                </a:cubicBezTo>
                <a:cubicBezTo>
                  <a:pt x="1194" y="5549"/>
                  <a:pt x="2005" y="5015"/>
                  <a:pt x="4392" y="501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  <a:extLst/>
        </p:spPr>
        <p:txBody>
          <a:bodyPr wrap="none" lIns="25718" tIns="12859" rIns="25718" bIns="12859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52" name="Freeform 4"/>
          <p:cNvSpPr>
            <a:spLocks noChangeArrowheads="1"/>
          </p:cNvSpPr>
          <p:nvPr/>
        </p:nvSpPr>
        <p:spPr bwMode="auto">
          <a:xfrm rot="2241240">
            <a:off x="4030556" y="1375967"/>
            <a:ext cx="622620" cy="474960"/>
          </a:xfrm>
          <a:custGeom>
            <a:avLst/>
            <a:gdLst>
              <a:gd name="T0" fmla="*/ 372 w 498"/>
              <a:gd name="T1" fmla="*/ 337 h 391"/>
              <a:gd name="T2" fmla="*/ 372 w 498"/>
              <a:gd name="T3" fmla="*/ 337 h 391"/>
              <a:gd name="T4" fmla="*/ 53 w 498"/>
              <a:gd name="T5" fmla="*/ 337 h 391"/>
              <a:gd name="T6" fmla="*/ 53 w 498"/>
              <a:gd name="T7" fmla="*/ 116 h 391"/>
              <a:gd name="T8" fmla="*/ 116 w 498"/>
              <a:gd name="T9" fmla="*/ 116 h 391"/>
              <a:gd name="T10" fmla="*/ 169 w 498"/>
              <a:gd name="T11" fmla="*/ 71 h 391"/>
              <a:gd name="T12" fmla="*/ 27 w 498"/>
              <a:gd name="T13" fmla="*/ 71 h 391"/>
              <a:gd name="T14" fmla="*/ 0 w 498"/>
              <a:gd name="T15" fmla="*/ 89 h 391"/>
              <a:gd name="T16" fmla="*/ 0 w 498"/>
              <a:gd name="T17" fmla="*/ 363 h 391"/>
              <a:gd name="T18" fmla="*/ 27 w 498"/>
              <a:gd name="T19" fmla="*/ 390 h 391"/>
              <a:gd name="T20" fmla="*/ 399 w 498"/>
              <a:gd name="T21" fmla="*/ 390 h 391"/>
              <a:gd name="T22" fmla="*/ 426 w 498"/>
              <a:gd name="T23" fmla="*/ 363 h 391"/>
              <a:gd name="T24" fmla="*/ 426 w 498"/>
              <a:gd name="T25" fmla="*/ 275 h 391"/>
              <a:gd name="T26" fmla="*/ 372 w 498"/>
              <a:gd name="T27" fmla="*/ 310 h 391"/>
              <a:gd name="T28" fmla="*/ 372 w 498"/>
              <a:gd name="T29" fmla="*/ 337 h 391"/>
              <a:gd name="T30" fmla="*/ 328 w 498"/>
              <a:gd name="T31" fmla="*/ 169 h 391"/>
              <a:gd name="T32" fmla="*/ 328 w 498"/>
              <a:gd name="T33" fmla="*/ 169 h 391"/>
              <a:gd name="T34" fmla="*/ 328 w 498"/>
              <a:gd name="T35" fmla="*/ 257 h 391"/>
              <a:gd name="T36" fmla="*/ 497 w 498"/>
              <a:gd name="T37" fmla="*/ 125 h 391"/>
              <a:gd name="T38" fmla="*/ 328 w 498"/>
              <a:gd name="T39" fmla="*/ 0 h 391"/>
              <a:gd name="T40" fmla="*/ 328 w 498"/>
              <a:gd name="T41" fmla="*/ 80 h 391"/>
              <a:gd name="T42" fmla="*/ 133 w 498"/>
              <a:gd name="T43" fmla="*/ 275 h 391"/>
              <a:gd name="T44" fmla="*/ 328 w 498"/>
              <a:gd name="T45" fmla="*/ 169 h 391"/>
              <a:gd name="connsiteX0" fmla="*/ 7470 w 9980"/>
              <a:gd name="connsiteY0" fmla="*/ 8619 h 9974"/>
              <a:gd name="connsiteX1" fmla="*/ 7470 w 9980"/>
              <a:gd name="connsiteY1" fmla="*/ 8619 h 9974"/>
              <a:gd name="connsiteX2" fmla="*/ 1064 w 9980"/>
              <a:gd name="connsiteY2" fmla="*/ 8619 h 9974"/>
              <a:gd name="connsiteX3" fmla="*/ 1064 w 9980"/>
              <a:gd name="connsiteY3" fmla="*/ 2967 h 9974"/>
              <a:gd name="connsiteX4" fmla="*/ 2329 w 9980"/>
              <a:gd name="connsiteY4" fmla="*/ 2967 h 9974"/>
              <a:gd name="connsiteX5" fmla="*/ 3394 w 9980"/>
              <a:gd name="connsiteY5" fmla="*/ 1816 h 9974"/>
              <a:gd name="connsiteX6" fmla="*/ 542 w 9980"/>
              <a:gd name="connsiteY6" fmla="*/ 1816 h 9974"/>
              <a:gd name="connsiteX7" fmla="*/ 0 w 9980"/>
              <a:gd name="connsiteY7" fmla="*/ 2276 h 9974"/>
              <a:gd name="connsiteX8" fmla="*/ 0 w 9980"/>
              <a:gd name="connsiteY8" fmla="*/ 9284 h 9974"/>
              <a:gd name="connsiteX9" fmla="*/ 542 w 9980"/>
              <a:gd name="connsiteY9" fmla="*/ 9974 h 9974"/>
              <a:gd name="connsiteX10" fmla="*/ 8012 w 9980"/>
              <a:gd name="connsiteY10" fmla="*/ 9974 h 9974"/>
              <a:gd name="connsiteX11" fmla="*/ 8554 w 9980"/>
              <a:gd name="connsiteY11" fmla="*/ 9284 h 9974"/>
              <a:gd name="connsiteX12" fmla="*/ 7470 w 9980"/>
              <a:gd name="connsiteY12" fmla="*/ 7928 h 9974"/>
              <a:gd name="connsiteX13" fmla="*/ 7470 w 9980"/>
              <a:gd name="connsiteY13" fmla="*/ 8619 h 9974"/>
              <a:gd name="connsiteX14" fmla="*/ 6586 w 9980"/>
              <a:gd name="connsiteY14" fmla="*/ 4322 h 9974"/>
              <a:gd name="connsiteX15" fmla="*/ 6586 w 9980"/>
              <a:gd name="connsiteY15" fmla="*/ 4322 h 9974"/>
              <a:gd name="connsiteX16" fmla="*/ 6586 w 9980"/>
              <a:gd name="connsiteY16" fmla="*/ 6573 h 9974"/>
              <a:gd name="connsiteX17" fmla="*/ 9980 w 9980"/>
              <a:gd name="connsiteY17" fmla="*/ 3197 h 9974"/>
              <a:gd name="connsiteX18" fmla="*/ 6586 w 9980"/>
              <a:gd name="connsiteY18" fmla="*/ 0 h 9974"/>
              <a:gd name="connsiteX19" fmla="*/ 6586 w 9980"/>
              <a:gd name="connsiteY19" fmla="*/ 2046 h 9974"/>
              <a:gd name="connsiteX20" fmla="*/ 2671 w 9980"/>
              <a:gd name="connsiteY20" fmla="*/ 7033 h 9974"/>
              <a:gd name="connsiteX21" fmla="*/ 6586 w 9980"/>
              <a:gd name="connsiteY21" fmla="*/ 4322 h 9974"/>
              <a:gd name="connsiteX0" fmla="*/ 7485 w 10000"/>
              <a:gd name="connsiteY0" fmla="*/ 8641 h 10152"/>
              <a:gd name="connsiteX1" fmla="*/ 7485 w 10000"/>
              <a:gd name="connsiteY1" fmla="*/ 8641 h 10152"/>
              <a:gd name="connsiteX2" fmla="*/ 1066 w 10000"/>
              <a:gd name="connsiteY2" fmla="*/ 8641 h 10152"/>
              <a:gd name="connsiteX3" fmla="*/ 1066 w 10000"/>
              <a:gd name="connsiteY3" fmla="*/ 2975 h 10152"/>
              <a:gd name="connsiteX4" fmla="*/ 2334 w 10000"/>
              <a:gd name="connsiteY4" fmla="*/ 2975 h 10152"/>
              <a:gd name="connsiteX5" fmla="*/ 3401 w 10000"/>
              <a:gd name="connsiteY5" fmla="*/ 1821 h 10152"/>
              <a:gd name="connsiteX6" fmla="*/ 543 w 10000"/>
              <a:gd name="connsiteY6" fmla="*/ 1821 h 10152"/>
              <a:gd name="connsiteX7" fmla="*/ 0 w 10000"/>
              <a:gd name="connsiteY7" fmla="*/ 2282 h 10152"/>
              <a:gd name="connsiteX8" fmla="*/ 0 w 10000"/>
              <a:gd name="connsiteY8" fmla="*/ 9308 h 10152"/>
              <a:gd name="connsiteX9" fmla="*/ 543 w 10000"/>
              <a:gd name="connsiteY9" fmla="*/ 10000 h 10152"/>
              <a:gd name="connsiteX10" fmla="*/ 8028 w 10000"/>
              <a:gd name="connsiteY10" fmla="*/ 10000 h 10152"/>
              <a:gd name="connsiteX11" fmla="*/ 7485 w 10000"/>
              <a:gd name="connsiteY11" fmla="*/ 7949 h 10152"/>
              <a:gd name="connsiteX12" fmla="*/ 7485 w 10000"/>
              <a:gd name="connsiteY12" fmla="*/ 8641 h 10152"/>
              <a:gd name="connsiteX13" fmla="*/ 6599 w 10000"/>
              <a:gd name="connsiteY13" fmla="*/ 4333 h 10152"/>
              <a:gd name="connsiteX14" fmla="*/ 6599 w 10000"/>
              <a:gd name="connsiteY14" fmla="*/ 4333 h 10152"/>
              <a:gd name="connsiteX15" fmla="*/ 6599 w 10000"/>
              <a:gd name="connsiteY15" fmla="*/ 6590 h 10152"/>
              <a:gd name="connsiteX16" fmla="*/ 10000 w 10000"/>
              <a:gd name="connsiteY16" fmla="*/ 3205 h 10152"/>
              <a:gd name="connsiteX17" fmla="*/ 6599 w 10000"/>
              <a:gd name="connsiteY17" fmla="*/ 0 h 10152"/>
              <a:gd name="connsiteX18" fmla="*/ 6599 w 10000"/>
              <a:gd name="connsiteY18" fmla="*/ 2051 h 10152"/>
              <a:gd name="connsiteX19" fmla="*/ 2676 w 10000"/>
              <a:gd name="connsiteY19" fmla="*/ 7051 h 10152"/>
              <a:gd name="connsiteX20" fmla="*/ 6599 w 10000"/>
              <a:gd name="connsiteY20" fmla="*/ 4333 h 10152"/>
              <a:gd name="connsiteX0" fmla="*/ 7485 w 10000"/>
              <a:gd name="connsiteY0" fmla="*/ 8641 h 10100"/>
              <a:gd name="connsiteX1" fmla="*/ 7485 w 10000"/>
              <a:gd name="connsiteY1" fmla="*/ 8641 h 10100"/>
              <a:gd name="connsiteX2" fmla="*/ 1066 w 10000"/>
              <a:gd name="connsiteY2" fmla="*/ 8641 h 10100"/>
              <a:gd name="connsiteX3" fmla="*/ 1066 w 10000"/>
              <a:gd name="connsiteY3" fmla="*/ 2975 h 10100"/>
              <a:gd name="connsiteX4" fmla="*/ 2334 w 10000"/>
              <a:gd name="connsiteY4" fmla="*/ 2975 h 10100"/>
              <a:gd name="connsiteX5" fmla="*/ 3401 w 10000"/>
              <a:gd name="connsiteY5" fmla="*/ 1821 h 10100"/>
              <a:gd name="connsiteX6" fmla="*/ 543 w 10000"/>
              <a:gd name="connsiteY6" fmla="*/ 1821 h 10100"/>
              <a:gd name="connsiteX7" fmla="*/ 0 w 10000"/>
              <a:gd name="connsiteY7" fmla="*/ 2282 h 10100"/>
              <a:gd name="connsiteX8" fmla="*/ 0 w 10000"/>
              <a:gd name="connsiteY8" fmla="*/ 9308 h 10100"/>
              <a:gd name="connsiteX9" fmla="*/ 543 w 10000"/>
              <a:gd name="connsiteY9" fmla="*/ 10000 h 10100"/>
              <a:gd name="connsiteX10" fmla="*/ 8028 w 10000"/>
              <a:gd name="connsiteY10" fmla="*/ 10000 h 10100"/>
              <a:gd name="connsiteX11" fmla="*/ 7485 w 10000"/>
              <a:gd name="connsiteY11" fmla="*/ 8641 h 10100"/>
              <a:gd name="connsiteX12" fmla="*/ 6599 w 10000"/>
              <a:gd name="connsiteY12" fmla="*/ 4333 h 10100"/>
              <a:gd name="connsiteX13" fmla="*/ 6599 w 10000"/>
              <a:gd name="connsiteY13" fmla="*/ 4333 h 10100"/>
              <a:gd name="connsiteX14" fmla="*/ 6599 w 10000"/>
              <a:gd name="connsiteY14" fmla="*/ 6590 h 10100"/>
              <a:gd name="connsiteX15" fmla="*/ 10000 w 10000"/>
              <a:gd name="connsiteY15" fmla="*/ 3205 h 10100"/>
              <a:gd name="connsiteX16" fmla="*/ 6599 w 10000"/>
              <a:gd name="connsiteY16" fmla="*/ 0 h 10100"/>
              <a:gd name="connsiteX17" fmla="*/ 6599 w 10000"/>
              <a:gd name="connsiteY17" fmla="*/ 2051 h 10100"/>
              <a:gd name="connsiteX18" fmla="*/ 2676 w 10000"/>
              <a:gd name="connsiteY18" fmla="*/ 7051 h 10100"/>
              <a:gd name="connsiteX19" fmla="*/ 6599 w 10000"/>
              <a:gd name="connsiteY19" fmla="*/ 4333 h 10100"/>
              <a:gd name="connsiteX0" fmla="*/ 7682 w 10197"/>
              <a:gd name="connsiteY0" fmla="*/ 8641 h 10022"/>
              <a:gd name="connsiteX1" fmla="*/ 7682 w 10197"/>
              <a:gd name="connsiteY1" fmla="*/ 8641 h 10022"/>
              <a:gd name="connsiteX2" fmla="*/ 1263 w 10197"/>
              <a:gd name="connsiteY2" fmla="*/ 8641 h 10022"/>
              <a:gd name="connsiteX3" fmla="*/ 1263 w 10197"/>
              <a:gd name="connsiteY3" fmla="*/ 2975 h 10022"/>
              <a:gd name="connsiteX4" fmla="*/ 2531 w 10197"/>
              <a:gd name="connsiteY4" fmla="*/ 2975 h 10022"/>
              <a:gd name="connsiteX5" fmla="*/ 3598 w 10197"/>
              <a:gd name="connsiteY5" fmla="*/ 1821 h 10022"/>
              <a:gd name="connsiteX6" fmla="*/ 740 w 10197"/>
              <a:gd name="connsiteY6" fmla="*/ 1821 h 10022"/>
              <a:gd name="connsiteX7" fmla="*/ 197 w 10197"/>
              <a:gd name="connsiteY7" fmla="*/ 2282 h 10022"/>
              <a:gd name="connsiteX8" fmla="*/ 197 w 10197"/>
              <a:gd name="connsiteY8" fmla="*/ 9308 h 10022"/>
              <a:gd name="connsiteX9" fmla="*/ 740 w 10197"/>
              <a:gd name="connsiteY9" fmla="*/ 10000 h 10022"/>
              <a:gd name="connsiteX10" fmla="*/ 7682 w 10197"/>
              <a:gd name="connsiteY10" fmla="*/ 8641 h 10022"/>
              <a:gd name="connsiteX11" fmla="*/ 6796 w 10197"/>
              <a:gd name="connsiteY11" fmla="*/ 4333 h 10022"/>
              <a:gd name="connsiteX12" fmla="*/ 6796 w 10197"/>
              <a:gd name="connsiteY12" fmla="*/ 4333 h 10022"/>
              <a:gd name="connsiteX13" fmla="*/ 6796 w 10197"/>
              <a:gd name="connsiteY13" fmla="*/ 6590 h 10022"/>
              <a:gd name="connsiteX14" fmla="*/ 10197 w 10197"/>
              <a:gd name="connsiteY14" fmla="*/ 3205 h 10022"/>
              <a:gd name="connsiteX15" fmla="*/ 6796 w 10197"/>
              <a:gd name="connsiteY15" fmla="*/ 0 h 10022"/>
              <a:gd name="connsiteX16" fmla="*/ 6796 w 10197"/>
              <a:gd name="connsiteY16" fmla="*/ 2051 h 10022"/>
              <a:gd name="connsiteX17" fmla="*/ 2873 w 10197"/>
              <a:gd name="connsiteY17" fmla="*/ 7051 h 10022"/>
              <a:gd name="connsiteX18" fmla="*/ 6796 w 10197"/>
              <a:gd name="connsiteY18" fmla="*/ 4333 h 10022"/>
              <a:gd name="connsiteX0" fmla="*/ 740 w 10197"/>
              <a:gd name="connsiteY0" fmla="*/ 10000 h 10022"/>
              <a:gd name="connsiteX1" fmla="*/ 7682 w 10197"/>
              <a:gd name="connsiteY1" fmla="*/ 8641 h 10022"/>
              <a:gd name="connsiteX2" fmla="*/ 1263 w 10197"/>
              <a:gd name="connsiteY2" fmla="*/ 8641 h 10022"/>
              <a:gd name="connsiteX3" fmla="*/ 1263 w 10197"/>
              <a:gd name="connsiteY3" fmla="*/ 2975 h 10022"/>
              <a:gd name="connsiteX4" fmla="*/ 2531 w 10197"/>
              <a:gd name="connsiteY4" fmla="*/ 2975 h 10022"/>
              <a:gd name="connsiteX5" fmla="*/ 3598 w 10197"/>
              <a:gd name="connsiteY5" fmla="*/ 1821 h 10022"/>
              <a:gd name="connsiteX6" fmla="*/ 740 w 10197"/>
              <a:gd name="connsiteY6" fmla="*/ 1821 h 10022"/>
              <a:gd name="connsiteX7" fmla="*/ 197 w 10197"/>
              <a:gd name="connsiteY7" fmla="*/ 2282 h 10022"/>
              <a:gd name="connsiteX8" fmla="*/ 197 w 10197"/>
              <a:gd name="connsiteY8" fmla="*/ 9308 h 10022"/>
              <a:gd name="connsiteX9" fmla="*/ 740 w 10197"/>
              <a:gd name="connsiteY9" fmla="*/ 10000 h 10022"/>
              <a:gd name="connsiteX10" fmla="*/ 6796 w 10197"/>
              <a:gd name="connsiteY10" fmla="*/ 4333 h 10022"/>
              <a:gd name="connsiteX11" fmla="*/ 6796 w 10197"/>
              <a:gd name="connsiteY11" fmla="*/ 4333 h 10022"/>
              <a:gd name="connsiteX12" fmla="*/ 6796 w 10197"/>
              <a:gd name="connsiteY12" fmla="*/ 6590 h 10022"/>
              <a:gd name="connsiteX13" fmla="*/ 10197 w 10197"/>
              <a:gd name="connsiteY13" fmla="*/ 3205 h 10022"/>
              <a:gd name="connsiteX14" fmla="*/ 6796 w 10197"/>
              <a:gd name="connsiteY14" fmla="*/ 0 h 10022"/>
              <a:gd name="connsiteX15" fmla="*/ 6796 w 10197"/>
              <a:gd name="connsiteY15" fmla="*/ 2051 h 10022"/>
              <a:gd name="connsiteX16" fmla="*/ 2873 w 10197"/>
              <a:gd name="connsiteY16" fmla="*/ 7051 h 10022"/>
              <a:gd name="connsiteX17" fmla="*/ 6796 w 10197"/>
              <a:gd name="connsiteY17" fmla="*/ 4333 h 10022"/>
              <a:gd name="connsiteX0" fmla="*/ 554 w 10554"/>
              <a:gd name="connsiteY0" fmla="*/ 9308 h 9666"/>
              <a:gd name="connsiteX1" fmla="*/ 8039 w 10554"/>
              <a:gd name="connsiteY1" fmla="*/ 8641 h 9666"/>
              <a:gd name="connsiteX2" fmla="*/ 1620 w 10554"/>
              <a:gd name="connsiteY2" fmla="*/ 8641 h 9666"/>
              <a:gd name="connsiteX3" fmla="*/ 1620 w 10554"/>
              <a:gd name="connsiteY3" fmla="*/ 2975 h 9666"/>
              <a:gd name="connsiteX4" fmla="*/ 2888 w 10554"/>
              <a:gd name="connsiteY4" fmla="*/ 2975 h 9666"/>
              <a:gd name="connsiteX5" fmla="*/ 3955 w 10554"/>
              <a:gd name="connsiteY5" fmla="*/ 1821 h 9666"/>
              <a:gd name="connsiteX6" fmla="*/ 1097 w 10554"/>
              <a:gd name="connsiteY6" fmla="*/ 1821 h 9666"/>
              <a:gd name="connsiteX7" fmla="*/ 554 w 10554"/>
              <a:gd name="connsiteY7" fmla="*/ 2282 h 9666"/>
              <a:gd name="connsiteX8" fmla="*/ 554 w 10554"/>
              <a:gd name="connsiteY8" fmla="*/ 9308 h 9666"/>
              <a:gd name="connsiteX9" fmla="*/ 7153 w 10554"/>
              <a:gd name="connsiteY9" fmla="*/ 4333 h 9666"/>
              <a:gd name="connsiteX10" fmla="*/ 7153 w 10554"/>
              <a:gd name="connsiteY10" fmla="*/ 4333 h 9666"/>
              <a:gd name="connsiteX11" fmla="*/ 7153 w 10554"/>
              <a:gd name="connsiteY11" fmla="*/ 6590 h 9666"/>
              <a:gd name="connsiteX12" fmla="*/ 10554 w 10554"/>
              <a:gd name="connsiteY12" fmla="*/ 3205 h 9666"/>
              <a:gd name="connsiteX13" fmla="*/ 7153 w 10554"/>
              <a:gd name="connsiteY13" fmla="*/ 0 h 9666"/>
              <a:gd name="connsiteX14" fmla="*/ 7153 w 10554"/>
              <a:gd name="connsiteY14" fmla="*/ 2051 h 9666"/>
              <a:gd name="connsiteX15" fmla="*/ 3230 w 10554"/>
              <a:gd name="connsiteY15" fmla="*/ 7051 h 9666"/>
              <a:gd name="connsiteX16" fmla="*/ 7153 w 10554"/>
              <a:gd name="connsiteY16" fmla="*/ 4333 h 9666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535 w 10000"/>
              <a:gd name="connsiteY3" fmla="*/ 3078 h 10000"/>
              <a:gd name="connsiteX4" fmla="*/ 2736 w 10000"/>
              <a:gd name="connsiteY4" fmla="*/ 3078 h 10000"/>
              <a:gd name="connsiteX5" fmla="*/ 1039 w 10000"/>
              <a:gd name="connsiteY5" fmla="*/ 1884 h 10000"/>
              <a:gd name="connsiteX6" fmla="*/ 525 w 10000"/>
              <a:gd name="connsiteY6" fmla="*/ 2361 h 10000"/>
              <a:gd name="connsiteX7" fmla="*/ 525 w 10000"/>
              <a:gd name="connsiteY7" fmla="*/ 9630 h 10000"/>
              <a:gd name="connsiteX8" fmla="*/ 6778 w 10000"/>
              <a:gd name="connsiteY8" fmla="*/ 4483 h 10000"/>
              <a:gd name="connsiteX9" fmla="*/ 6778 w 10000"/>
              <a:gd name="connsiteY9" fmla="*/ 4483 h 10000"/>
              <a:gd name="connsiteX10" fmla="*/ 6778 w 10000"/>
              <a:gd name="connsiteY10" fmla="*/ 6818 h 10000"/>
              <a:gd name="connsiteX11" fmla="*/ 10000 w 10000"/>
              <a:gd name="connsiteY11" fmla="*/ 3316 h 10000"/>
              <a:gd name="connsiteX12" fmla="*/ 6778 w 10000"/>
              <a:gd name="connsiteY12" fmla="*/ 0 h 10000"/>
              <a:gd name="connsiteX13" fmla="*/ 6778 w 10000"/>
              <a:gd name="connsiteY13" fmla="*/ 2122 h 10000"/>
              <a:gd name="connsiteX14" fmla="*/ 3060 w 10000"/>
              <a:gd name="connsiteY14" fmla="*/ 7295 h 10000"/>
              <a:gd name="connsiteX15" fmla="*/ 6778 w 10000"/>
              <a:gd name="connsiteY15" fmla="*/ 4483 h 10000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535 w 10000"/>
              <a:gd name="connsiteY3" fmla="*/ 3078 h 10000"/>
              <a:gd name="connsiteX4" fmla="*/ 1039 w 10000"/>
              <a:gd name="connsiteY4" fmla="*/ 1884 h 10000"/>
              <a:gd name="connsiteX5" fmla="*/ 525 w 10000"/>
              <a:gd name="connsiteY5" fmla="*/ 2361 h 10000"/>
              <a:gd name="connsiteX6" fmla="*/ 525 w 10000"/>
              <a:gd name="connsiteY6" fmla="*/ 9630 h 10000"/>
              <a:gd name="connsiteX7" fmla="*/ 6778 w 10000"/>
              <a:gd name="connsiteY7" fmla="*/ 4483 h 10000"/>
              <a:gd name="connsiteX8" fmla="*/ 6778 w 10000"/>
              <a:gd name="connsiteY8" fmla="*/ 4483 h 10000"/>
              <a:gd name="connsiteX9" fmla="*/ 6778 w 10000"/>
              <a:gd name="connsiteY9" fmla="*/ 6818 h 10000"/>
              <a:gd name="connsiteX10" fmla="*/ 10000 w 10000"/>
              <a:gd name="connsiteY10" fmla="*/ 3316 h 10000"/>
              <a:gd name="connsiteX11" fmla="*/ 6778 w 10000"/>
              <a:gd name="connsiteY11" fmla="*/ 0 h 10000"/>
              <a:gd name="connsiteX12" fmla="*/ 6778 w 10000"/>
              <a:gd name="connsiteY12" fmla="*/ 2122 h 10000"/>
              <a:gd name="connsiteX13" fmla="*/ 3060 w 10000"/>
              <a:gd name="connsiteY13" fmla="*/ 7295 h 10000"/>
              <a:gd name="connsiteX14" fmla="*/ 6778 w 10000"/>
              <a:gd name="connsiteY14" fmla="*/ 4483 h 10000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039 w 10000"/>
              <a:gd name="connsiteY3" fmla="*/ 1884 h 10000"/>
              <a:gd name="connsiteX4" fmla="*/ 525 w 10000"/>
              <a:gd name="connsiteY4" fmla="*/ 2361 h 10000"/>
              <a:gd name="connsiteX5" fmla="*/ 525 w 10000"/>
              <a:gd name="connsiteY5" fmla="*/ 9630 h 10000"/>
              <a:gd name="connsiteX6" fmla="*/ 6778 w 10000"/>
              <a:gd name="connsiteY6" fmla="*/ 4483 h 10000"/>
              <a:gd name="connsiteX7" fmla="*/ 6778 w 10000"/>
              <a:gd name="connsiteY7" fmla="*/ 4483 h 10000"/>
              <a:gd name="connsiteX8" fmla="*/ 6778 w 10000"/>
              <a:gd name="connsiteY8" fmla="*/ 6818 h 10000"/>
              <a:gd name="connsiteX9" fmla="*/ 10000 w 10000"/>
              <a:gd name="connsiteY9" fmla="*/ 3316 h 10000"/>
              <a:gd name="connsiteX10" fmla="*/ 6778 w 10000"/>
              <a:gd name="connsiteY10" fmla="*/ 0 h 10000"/>
              <a:gd name="connsiteX11" fmla="*/ 6778 w 10000"/>
              <a:gd name="connsiteY11" fmla="*/ 2122 h 10000"/>
              <a:gd name="connsiteX12" fmla="*/ 3060 w 10000"/>
              <a:gd name="connsiteY12" fmla="*/ 7295 h 10000"/>
              <a:gd name="connsiteX13" fmla="*/ 6778 w 10000"/>
              <a:gd name="connsiteY13" fmla="*/ 4483 h 10000"/>
              <a:gd name="connsiteX0" fmla="*/ 564 w 10039"/>
              <a:gd name="connsiteY0" fmla="*/ 9630 h 10000"/>
              <a:gd name="connsiteX1" fmla="*/ 7656 w 10039"/>
              <a:gd name="connsiteY1" fmla="*/ 8940 h 10000"/>
              <a:gd name="connsiteX2" fmla="*/ 1574 w 10039"/>
              <a:gd name="connsiteY2" fmla="*/ 8940 h 10000"/>
              <a:gd name="connsiteX3" fmla="*/ 564 w 10039"/>
              <a:gd name="connsiteY3" fmla="*/ 2361 h 10000"/>
              <a:gd name="connsiteX4" fmla="*/ 564 w 10039"/>
              <a:gd name="connsiteY4" fmla="*/ 9630 h 10000"/>
              <a:gd name="connsiteX5" fmla="*/ 6817 w 10039"/>
              <a:gd name="connsiteY5" fmla="*/ 4483 h 10000"/>
              <a:gd name="connsiteX6" fmla="*/ 6817 w 10039"/>
              <a:gd name="connsiteY6" fmla="*/ 4483 h 10000"/>
              <a:gd name="connsiteX7" fmla="*/ 6817 w 10039"/>
              <a:gd name="connsiteY7" fmla="*/ 6818 h 10000"/>
              <a:gd name="connsiteX8" fmla="*/ 10039 w 10039"/>
              <a:gd name="connsiteY8" fmla="*/ 3316 h 10000"/>
              <a:gd name="connsiteX9" fmla="*/ 6817 w 10039"/>
              <a:gd name="connsiteY9" fmla="*/ 0 h 10000"/>
              <a:gd name="connsiteX10" fmla="*/ 6817 w 10039"/>
              <a:gd name="connsiteY10" fmla="*/ 2122 h 10000"/>
              <a:gd name="connsiteX11" fmla="*/ 3099 w 10039"/>
              <a:gd name="connsiteY11" fmla="*/ 7295 h 10000"/>
              <a:gd name="connsiteX12" fmla="*/ 6817 w 10039"/>
              <a:gd name="connsiteY12" fmla="*/ 4483 h 10000"/>
              <a:gd name="connsiteX0" fmla="*/ 454 w 9929"/>
              <a:gd name="connsiteY0" fmla="*/ 9630 h 10000"/>
              <a:gd name="connsiteX1" fmla="*/ 7546 w 9929"/>
              <a:gd name="connsiteY1" fmla="*/ 8940 h 10000"/>
              <a:gd name="connsiteX2" fmla="*/ 1464 w 9929"/>
              <a:gd name="connsiteY2" fmla="*/ 8940 h 10000"/>
              <a:gd name="connsiteX3" fmla="*/ 454 w 9929"/>
              <a:gd name="connsiteY3" fmla="*/ 9630 h 10000"/>
              <a:gd name="connsiteX4" fmla="*/ 6707 w 9929"/>
              <a:gd name="connsiteY4" fmla="*/ 4483 h 10000"/>
              <a:gd name="connsiteX5" fmla="*/ 6707 w 9929"/>
              <a:gd name="connsiteY5" fmla="*/ 4483 h 10000"/>
              <a:gd name="connsiteX6" fmla="*/ 6707 w 9929"/>
              <a:gd name="connsiteY6" fmla="*/ 6818 h 10000"/>
              <a:gd name="connsiteX7" fmla="*/ 9929 w 9929"/>
              <a:gd name="connsiteY7" fmla="*/ 3316 h 10000"/>
              <a:gd name="connsiteX8" fmla="*/ 6707 w 9929"/>
              <a:gd name="connsiteY8" fmla="*/ 0 h 10000"/>
              <a:gd name="connsiteX9" fmla="*/ 6707 w 9929"/>
              <a:gd name="connsiteY9" fmla="*/ 2122 h 10000"/>
              <a:gd name="connsiteX10" fmla="*/ 2989 w 9929"/>
              <a:gd name="connsiteY10" fmla="*/ 7295 h 10000"/>
              <a:gd name="connsiteX11" fmla="*/ 6707 w 9929"/>
              <a:gd name="connsiteY11" fmla="*/ 4483 h 10000"/>
              <a:gd name="connsiteX0" fmla="*/ 0 w 8526"/>
              <a:gd name="connsiteY0" fmla="*/ 8940 h 8940"/>
              <a:gd name="connsiteX1" fmla="*/ 6126 w 8526"/>
              <a:gd name="connsiteY1" fmla="*/ 8940 h 8940"/>
              <a:gd name="connsiteX2" fmla="*/ 0 w 8526"/>
              <a:gd name="connsiteY2" fmla="*/ 8940 h 8940"/>
              <a:gd name="connsiteX3" fmla="*/ 5281 w 8526"/>
              <a:gd name="connsiteY3" fmla="*/ 4483 h 8940"/>
              <a:gd name="connsiteX4" fmla="*/ 5281 w 8526"/>
              <a:gd name="connsiteY4" fmla="*/ 4483 h 8940"/>
              <a:gd name="connsiteX5" fmla="*/ 5281 w 8526"/>
              <a:gd name="connsiteY5" fmla="*/ 6818 h 8940"/>
              <a:gd name="connsiteX6" fmla="*/ 8526 w 8526"/>
              <a:gd name="connsiteY6" fmla="*/ 3316 h 8940"/>
              <a:gd name="connsiteX7" fmla="*/ 5281 w 8526"/>
              <a:gd name="connsiteY7" fmla="*/ 0 h 8940"/>
              <a:gd name="connsiteX8" fmla="*/ 5281 w 8526"/>
              <a:gd name="connsiteY8" fmla="*/ 2122 h 8940"/>
              <a:gd name="connsiteX9" fmla="*/ 1536 w 8526"/>
              <a:gd name="connsiteY9" fmla="*/ 7295 h 8940"/>
              <a:gd name="connsiteX10" fmla="*/ 5281 w 8526"/>
              <a:gd name="connsiteY10" fmla="*/ 4483 h 8940"/>
              <a:gd name="connsiteX0" fmla="*/ 4392 w 8198"/>
              <a:gd name="connsiteY0" fmla="*/ 5015 h 8160"/>
              <a:gd name="connsiteX1" fmla="*/ 4392 w 8198"/>
              <a:gd name="connsiteY1" fmla="*/ 5015 h 8160"/>
              <a:gd name="connsiteX2" fmla="*/ 4392 w 8198"/>
              <a:gd name="connsiteY2" fmla="*/ 7626 h 8160"/>
              <a:gd name="connsiteX3" fmla="*/ 8198 w 8198"/>
              <a:gd name="connsiteY3" fmla="*/ 3709 h 8160"/>
              <a:gd name="connsiteX4" fmla="*/ 4392 w 8198"/>
              <a:gd name="connsiteY4" fmla="*/ 0 h 8160"/>
              <a:gd name="connsiteX5" fmla="*/ 4392 w 8198"/>
              <a:gd name="connsiteY5" fmla="*/ 2374 h 8160"/>
              <a:gd name="connsiteX6" fmla="*/ 0 w 8198"/>
              <a:gd name="connsiteY6" fmla="*/ 8160 h 8160"/>
              <a:gd name="connsiteX7" fmla="*/ 4392 w 8198"/>
              <a:gd name="connsiteY7" fmla="*/ 5015 h 8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8" h="8160">
                <a:moveTo>
                  <a:pt x="4392" y="5015"/>
                </a:moveTo>
                <a:lnTo>
                  <a:pt x="4392" y="5015"/>
                </a:lnTo>
                <a:lnTo>
                  <a:pt x="4392" y="7626"/>
                </a:lnTo>
                <a:lnTo>
                  <a:pt x="8198" y="3709"/>
                </a:lnTo>
                <a:lnTo>
                  <a:pt x="4392" y="0"/>
                </a:lnTo>
                <a:lnTo>
                  <a:pt x="4392" y="2374"/>
                </a:lnTo>
                <a:cubicBezTo>
                  <a:pt x="0" y="2374"/>
                  <a:pt x="0" y="8160"/>
                  <a:pt x="0" y="8160"/>
                </a:cubicBezTo>
                <a:cubicBezTo>
                  <a:pt x="1194" y="5549"/>
                  <a:pt x="2005" y="5015"/>
                  <a:pt x="4392" y="501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  <a:extLst/>
        </p:spPr>
        <p:txBody>
          <a:bodyPr wrap="none" lIns="25718" tIns="12859" rIns="25718" bIns="12859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56" name="Freeform 4"/>
          <p:cNvSpPr>
            <a:spLocks noChangeArrowheads="1"/>
          </p:cNvSpPr>
          <p:nvPr/>
        </p:nvSpPr>
        <p:spPr bwMode="auto">
          <a:xfrm rot="19358760" flipV="1">
            <a:off x="3967618" y="5626235"/>
            <a:ext cx="675425" cy="515241"/>
          </a:xfrm>
          <a:custGeom>
            <a:avLst/>
            <a:gdLst>
              <a:gd name="T0" fmla="*/ 372 w 498"/>
              <a:gd name="T1" fmla="*/ 337 h 391"/>
              <a:gd name="T2" fmla="*/ 372 w 498"/>
              <a:gd name="T3" fmla="*/ 337 h 391"/>
              <a:gd name="T4" fmla="*/ 53 w 498"/>
              <a:gd name="T5" fmla="*/ 337 h 391"/>
              <a:gd name="T6" fmla="*/ 53 w 498"/>
              <a:gd name="T7" fmla="*/ 116 h 391"/>
              <a:gd name="T8" fmla="*/ 116 w 498"/>
              <a:gd name="T9" fmla="*/ 116 h 391"/>
              <a:gd name="T10" fmla="*/ 169 w 498"/>
              <a:gd name="T11" fmla="*/ 71 h 391"/>
              <a:gd name="T12" fmla="*/ 27 w 498"/>
              <a:gd name="T13" fmla="*/ 71 h 391"/>
              <a:gd name="T14" fmla="*/ 0 w 498"/>
              <a:gd name="T15" fmla="*/ 89 h 391"/>
              <a:gd name="T16" fmla="*/ 0 w 498"/>
              <a:gd name="T17" fmla="*/ 363 h 391"/>
              <a:gd name="T18" fmla="*/ 27 w 498"/>
              <a:gd name="T19" fmla="*/ 390 h 391"/>
              <a:gd name="T20" fmla="*/ 399 w 498"/>
              <a:gd name="T21" fmla="*/ 390 h 391"/>
              <a:gd name="T22" fmla="*/ 426 w 498"/>
              <a:gd name="T23" fmla="*/ 363 h 391"/>
              <a:gd name="T24" fmla="*/ 426 w 498"/>
              <a:gd name="T25" fmla="*/ 275 h 391"/>
              <a:gd name="T26" fmla="*/ 372 w 498"/>
              <a:gd name="T27" fmla="*/ 310 h 391"/>
              <a:gd name="T28" fmla="*/ 372 w 498"/>
              <a:gd name="T29" fmla="*/ 337 h 391"/>
              <a:gd name="T30" fmla="*/ 328 w 498"/>
              <a:gd name="T31" fmla="*/ 169 h 391"/>
              <a:gd name="T32" fmla="*/ 328 w 498"/>
              <a:gd name="T33" fmla="*/ 169 h 391"/>
              <a:gd name="T34" fmla="*/ 328 w 498"/>
              <a:gd name="T35" fmla="*/ 257 h 391"/>
              <a:gd name="T36" fmla="*/ 497 w 498"/>
              <a:gd name="T37" fmla="*/ 125 h 391"/>
              <a:gd name="T38" fmla="*/ 328 w 498"/>
              <a:gd name="T39" fmla="*/ 0 h 391"/>
              <a:gd name="T40" fmla="*/ 328 w 498"/>
              <a:gd name="T41" fmla="*/ 80 h 391"/>
              <a:gd name="T42" fmla="*/ 133 w 498"/>
              <a:gd name="T43" fmla="*/ 275 h 391"/>
              <a:gd name="T44" fmla="*/ 328 w 498"/>
              <a:gd name="T45" fmla="*/ 169 h 391"/>
              <a:gd name="connsiteX0" fmla="*/ 7470 w 9980"/>
              <a:gd name="connsiteY0" fmla="*/ 8619 h 9974"/>
              <a:gd name="connsiteX1" fmla="*/ 7470 w 9980"/>
              <a:gd name="connsiteY1" fmla="*/ 8619 h 9974"/>
              <a:gd name="connsiteX2" fmla="*/ 1064 w 9980"/>
              <a:gd name="connsiteY2" fmla="*/ 8619 h 9974"/>
              <a:gd name="connsiteX3" fmla="*/ 1064 w 9980"/>
              <a:gd name="connsiteY3" fmla="*/ 2967 h 9974"/>
              <a:gd name="connsiteX4" fmla="*/ 2329 w 9980"/>
              <a:gd name="connsiteY4" fmla="*/ 2967 h 9974"/>
              <a:gd name="connsiteX5" fmla="*/ 3394 w 9980"/>
              <a:gd name="connsiteY5" fmla="*/ 1816 h 9974"/>
              <a:gd name="connsiteX6" fmla="*/ 542 w 9980"/>
              <a:gd name="connsiteY6" fmla="*/ 1816 h 9974"/>
              <a:gd name="connsiteX7" fmla="*/ 0 w 9980"/>
              <a:gd name="connsiteY7" fmla="*/ 2276 h 9974"/>
              <a:gd name="connsiteX8" fmla="*/ 0 w 9980"/>
              <a:gd name="connsiteY8" fmla="*/ 9284 h 9974"/>
              <a:gd name="connsiteX9" fmla="*/ 542 w 9980"/>
              <a:gd name="connsiteY9" fmla="*/ 9974 h 9974"/>
              <a:gd name="connsiteX10" fmla="*/ 8012 w 9980"/>
              <a:gd name="connsiteY10" fmla="*/ 9974 h 9974"/>
              <a:gd name="connsiteX11" fmla="*/ 8554 w 9980"/>
              <a:gd name="connsiteY11" fmla="*/ 9284 h 9974"/>
              <a:gd name="connsiteX12" fmla="*/ 7470 w 9980"/>
              <a:gd name="connsiteY12" fmla="*/ 7928 h 9974"/>
              <a:gd name="connsiteX13" fmla="*/ 7470 w 9980"/>
              <a:gd name="connsiteY13" fmla="*/ 8619 h 9974"/>
              <a:gd name="connsiteX14" fmla="*/ 6586 w 9980"/>
              <a:gd name="connsiteY14" fmla="*/ 4322 h 9974"/>
              <a:gd name="connsiteX15" fmla="*/ 6586 w 9980"/>
              <a:gd name="connsiteY15" fmla="*/ 4322 h 9974"/>
              <a:gd name="connsiteX16" fmla="*/ 6586 w 9980"/>
              <a:gd name="connsiteY16" fmla="*/ 6573 h 9974"/>
              <a:gd name="connsiteX17" fmla="*/ 9980 w 9980"/>
              <a:gd name="connsiteY17" fmla="*/ 3197 h 9974"/>
              <a:gd name="connsiteX18" fmla="*/ 6586 w 9980"/>
              <a:gd name="connsiteY18" fmla="*/ 0 h 9974"/>
              <a:gd name="connsiteX19" fmla="*/ 6586 w 9980"/>
              <a:gd name="connsiteY19" fmla="*/ 2046 h 9974"/>
              <a:gd name="connsiteX20" fmla="*/ 2671 w 9980"/>
              <a:gd name="connsiteY20" fmla="*/ 7033 h 9974"/>
              <a:gd name="connsiteX21" fmla="*/ 6586 w 9980"/>
              <a:gd name="connsiteY21" fmla="*/ 4322 h 9974"/>
              <a:gd name="connsiteX0" fmla="*/ 7485 w 10000"/>
              <a:gd name="connsiteY0" fmla="*/ 8641 h 10152"/>
              <a:gd name="connsiteX1" fmla="*/ 7485 w 10000"/>
              <a:gd name="connsiteY1" fmla="*/ 8641 h 10152"/>
              <a:gd name="connsiteX2" fmla="*/ 1066 w 10000"/>
              <a:gd name="connsiteY2" fmla="*/ 8641 h 10152"/>
              <a:gd name="connsiteX3" fmla="*/ 1066 w 10000"/>
              <a:gd name="connsiteY3" fmla="*/ 2975 h 10152"/>
              <a:gd name="connsiteX4" fmla="*/ 2334 w 10000"/>
              <a:gd name="connsiteY4" fmla="*/ 2975 h 10152"/>
              <a:gd name="connsiteX5" fmla="*/ 3401 w 10000"/>
              <a:gd name="connsiteY5" fmla="*/ 1821 h 10152"/>
              <a:gd name="connsiteX6" fmla="*/ 543 w 10000"/>
              <a:gd name="connsiteY6" fmla="*/ 1821 h 10152"/>
              <a:gd name="connsiteX7" fmla="*/ 0 w 10000"/>
              <a:gd name="connsiteY7" fmla="*/ 2282 h 10152"/>
              <a:gd name="connsiteX8" fmla="*/ 0 w 10000"/>
              <a:gd name="connsiteY8" fmla="*/ 9308 h 10152"/>
              <a:gd name="connsiteX9" fmla="*/ 543 w 10000"/>
              <a:gd name="connsiteY9" fmla="*/ 10000 h 10152"/>
              <a:gd name="connsiteX10" fmla="*/ 8028 w 10000"/>
              <a:gd name="connsiteY10" fmla="*/ 10000 h 10152"/>
              <a:gd name="connsiteX11" fmla="*/ 7485 w 10000"/>
              <a:gd name="connsiteY11" fmla="*/ 7949 h 10152"/>
              <a:gd name="connsiteX12" fmla="*/ 7485 w 10000"/>
              <a:gd name="connsiteY12" fmla="*/ 8641 h 10152"/>
              <a:gd name="connsiteX13" fmla="*/ 6599 w 10000"/>
              <a:gd name="connsiteY13" fmla="*/ 4333 h 10152"/>
              <a:gd name="connsiteX14" fmla="*/ 6599 w 10000"/>
              <a:gd name="connsiteY14" fmla="*/ 4333 h 10152"/>
              <a:gd name="connsiteX15" fmla="*/ 6599 w 10000"/>
              <a:gd name="connsiteY15" fmla="*/ 6590 h 10152"/>
              <a:gd name="connsiteX16" fmla="*/ 10000 w 10000"/>
              <a:gd name="connsiteY16" fmla="*/ 3205 h 10152"/>
              <a:gd name="connsiteX17" fmla="*/ 6599 w 10000"/>
              <a:gd name="connsiteY17" fmla="*/ 0 h 10152"/>
              <a:gd name="connsiteX18" fmla="*/ 6599 w 10000"/>
              <a:gd name="connsiteY18" fmla="*/ 2051 h 10152"/>
              <a:gd name="connsiteX19" fmla="*/ 2676 w 10000"/>
              <a:gd name="connsiteY19" fmla="*/ 7051 h 10152"/>
              <a:gd name="connsiteX20" fmla="*/ 6599 w 10000"/>
              <a:gd name="connsiteY20" fmla="*/ 4333 h 10152"/>
              <a:gd name="connsiteX0" fmla="*/ 7485 w 10000"/>
              <a:gd name="connsiteY0" fmla="*/ 8641 h 10100"/>
              <a:gd name="connsiteX1" fmla="*/ 7485 w 10000"/>
              <a:gd name="connsiteY1" fmla="*/ 8641 h 10100"/>
              <a:gd name="connsiteX2" fmla="*/ 1066 w 10000"/>
              <a:gd name="connsiteY2" fmla="*/ 8641 h 10100"/>
              <a:gd name="connsiteX3" fmla="*/ 1066 w 10000"/>
              <a:gd name="connsiteY3" fmla="*/ 2975 h 10100"/>
              <a:gd name="connsiteX4" fmla="*/ 2334 w 10000"/>
              <a:gd name="connsiteY4" fmla="*/ 2975 h 10100"/>
              <a:gd name="connsiteX5" fmla="*/ 3401 w 10000"/>
              <a:gd name="connsiteY5" fmla="*/ 1821 h 10100"/>
              <a:gd name="connsiteX6" fmla="*/ 543 w 10000"/>
              <a:gd name="connsiteY6" fmla="*/ 1821 h 10100"/>
              <a:gd name="connsiteX7" fmla="*/ 0 w 10000"/>
              <a:gd name="connsiteY7" fmla="*/ 2282 h 10100"/>
              <a:gd name="connsiteX8" fmla="*/ 0 w 10000"/>
              <a:gd name="connsiteY8" fmla="*/ 9308 h 10100"/>
              <a:gd name="connsiteX9" fmla="*/ 543 w 10000"/>
              <a:gd name="connsiteY9" fmla="*/ 10000 h 10100"/>
              <a:gd name="connsiteX10" fmla="*/ 8028 w 10000"/>
              <a:gd name="connsiteY10" fmla="*/ 10000 h 10100"/>
              <a:gd name="connsiteX11" fmla="*/ 7485 w 10000"/>
              <a:gd name="connsiteY11" fmla="*/ 8641 h 10100"/>
              <a:gd name="connsiteX12" fmla="*/ 6599 w 10000"/>
              <a:gd name="connsiteY12" fmla="*/ 4333 h 10100"/>
              <a:gd name="connsiteX13" fmla="*/ 6599 w 10000"/>
              <a:gd name="connsiteY13" fmla="*/ 4333 h 10100"/>
              <a:gd name="connsiteX14" fmla="*/ 6599 w 10000"/>
              <a:gd name="connsiteY14" fmla="*/ 6590 h 10100"/>
              <a:gd name="connsiteX15" fmla="*/ 10000 w 10000"/>
              <a:gd name="connsiteY15" fmla="*/ 3205 h 10100"/>
              <a:gd name="connsiteX16" fmla="*/ 6599 w 10000"/>
              <a:gd name="connsiteY16" fmla="*/ 0 h 10100"/>
              <a:gd name="connsiteX17" fmla="*/ 6599 w 10000"/>
              <a:gd name="connsiteY17" fmla="*/ 2051 h 10100"/>
              <a:gd name="connsiteX18" fmla="*/ 2676 w 10000"/>
              <a:gd name="connsiteY18" fmla="*/ 7051 h 10100"/>
              <a:gd name="connsiteX19" fmla="*/ 6599 w 10000"/>
              <a:gd name="connsiteY19" fmla="*/ 4333 h 10100"/>
              <a:gd name="connsiteX0" fmla="*/ 7682 w 10197"/>
              <a:gd name="connsiteY0" fmla="*/ 8641 h 10022"/>
              <a:gd name="connsiteX1" fmla="*/ 7682 w 10197"/>
              <a:gd name="connsiteY1" fmla="*/ 8641 h 10022"/>
              <a:gd name="connsiteX2" fmla="*/ 1263 w 10197"/>
              <a:gd name="connsiteY2" fmla="*/ 8641 h 10022"/>
              <a:gd name="connsiteX3" fmla="*/ 1263 w 10197"/>
              <a:gd name="connsiteY3" fmla="*/ 2975 h 10022"/>
              <a:gd name="connsiteX4" fmla="*/ 2531 w 10197"/>
              <a:gd name="connsiteY4" fmla="*/ 2975 h 10022"/>
              <a:gd name="connsiteX5" fmla="*/ 3598 w 10197"/>
              <a:gd name="connsiteY5" fmla="*/ 1821 h 10022"/>
              <a:gd name="connsiteX6" fmla="*/ 740 w 10197"/>
              <a:gd name="connsiteY6" fmla="*/ 1821 h 10022"/>
              <a:gd name="connsiteX7" fmla="*/ 197 w 10197"/>
              <a:gd name="connsiteY7" fmla="*/ 2282 h 10022"/>
              <a:gd name="connsiteX8" fmla="*/ 197 w 10197"/>
              <a:gd name="connsiteY8" fmla="*/ 9308 h 10022"/>
              <a:gd name="connsiteX9" fmla="*/ 740 w 10197"/>
              <a:gd name="connsiteY9" fmla="*/ 10000 h 10022"/>
              <a:gd name="connsiteX10" fmla="*/ 7682 w 10197"/>
              <a:gd name="connsiteY10" fmla="*/ 8641 h 10022"/>
              <a:gd name="connsiteX11" fmla="*/ 6796 w 10197"/>
              <a:gd name="connsiteY11" fmla="*/ 4333 h 10022"/>
              <a:gd name="connsiteX12" fmla="*/ 6796 w 10197"/>
              <a:gd name="connsiteY12" fmla="*/ 4333 h 10022"/>
              <a:gd name="connsiteX13" fmla="*/ 6796 w 10197"/>
              <a:gd name="connsiteY13" fmla="*/ 6590 h 10022"/>
              <a:gd name="connsiteX14" fmla="*/ 10197 w 10197"/>
              <a:gd name="connsiteY14" fmla="*/ 3205 h 10022"/>
              <a:gd name="connsiteX15" fmla="*/ 6796 w 10197"/>
              <a:gd name="connsiteY15" fmla="*/ 0 h 10022"/>
              <a:gd name="connsiteX16" fmla="*/ 6796 w 10197"/>
              <a:gd name="connsiteY16" fmla="*/ 2051 h 10022"/>
              <a:gd name="connsiteX17" fmla="*/ 2873 w 10197"/>
              <a:gd name="connsiteY17" fmla="*/ 7051 h 10022"/>
              <a:gd name="connsiteX18" fmla="*/ 6796 w 10197"/>
              <a:gd name="connsiteY18" fmla="*/ 4333 h 10022"/>
              <a:gd name="connsiteX0" fmla="*/ 740 w 10197"/>
              <a:gd name="connsiteY0" fmla="*/ 10000 h 10022"/>
              <a:gd name="connsiteX1" fmla="*/ 7682 w 10197"/>
              <a:gd name="connsiteY1" fmla="*/ 8641 h 10022"/>
              <a:gd name="connsiteX2" fmla="*/ 1263 w 10197"/>
              <a:gd name="connsiteY2" fmla="*/ 8641 h 10022"/>
              <a:gd name="connsiteX3" fmla="*/ 1263 w 10197"/>
              <a:gd name="connsiteY3" fmla="*/ 2975 h 10022"/>
              <a:gd name="connsiteX4" fmla="*/ 2531 w 10197"/>
              <a:gd name="connsiteY4" fmla="*/ 2975 h 10022"/>
              <a:gd name="connsiteX5" fmla="*/ 3598 w 10197"/>
              <a:gd name="connsiteY5" fmla="*/ 1821 h 10022"/>
              <a:gd name="connsiteX6" fmla="*/ 740 w 10197"/>
              <a:gd name="connsiteY6" fmla="*/ 1821 h 10022"/>
              <a:gd name="connsiteX7" fmla="*/ 197 w 10197"/>
              <a:gd name="connsiteY7" fmla="*/ 2282 h 10022"/>
              <a:gd name="connsiteX8" fmla="*/ 197 w 10197"/>
              <a:gd name="connsiteY8" fmla="*/ 9308 h 10022"/>
              <a:gd name="connsiteX9" fmla="*/ 740 w 10197"/>
              <a:gd name="connsiteY9" fmla="*/ 10000 h 10022"/>
              <a:gd name="connsiteX10" fmla="*/ 6796 w 10197"/>
              <a:gd name="connsiteY10" fmla="*/ 4333 h 10022"/>
              <a:gd name="connsiteX11" fmla="*/ 6796 w 10197"/>
              <a:gd name="connsiteY11" fmla="*/ 4333 h 10022"/>
              <a:gd name="connsiteX12" fmla="*/ 6796 w 10197"/>
              <a:gd name="connsiteY12" fmla="*/ 6590 h 10022"/>
              <a:gd name="connsiteX13" fmla="*/ 10197 w 10197"/>
              <a:gd name="connsiteY13" fmla="*/ 3205 h 10022"/>
              <a:gd name="connsiteX14" fmla="*/ 6796 w 10197"/>
              <a:gd name="connsiteY14" fmla="*/ 0 h 10022"/>
              <a:gd name="connsiteX15" fmla="*/ 6796 w 10197"/>
              <a:gd name="connsiteY15" fmla="*/ 2051 h 10022"/>
              <a:gd name="connsiteX16" fmla="*/ 2873 w 10197"/>
              <a:gd name="connsiteY16" fmla="*/ 7051 h 10022"/>
              <a:gd name="connsiteX17" fmla="*/ 6796 w 10197"/>
              <a:gd name="connsiteY17" fmla="*/ 4333 h 10022"/>
              <a:gd name="connsiteX0" fmla="*/ 554 w 10554"/>
              <a:gd name="connsiteY0" fmla="*/ 9308 h 9666"/>
              <a:gd name="connsiteX1" fmla="*/ 8039 w 10554"/>
              <a:gd name="connsiteY1" fmla="*/ 8641 h 9666"/>
              <a:gd name="connsiteX2" fmla="*/ 1620 w 10554"/>
              <a:gd name="connsiteY2" fmla="*/ 8641 h 9666"/>
              <a:gd name="connsiteX3" fmla="*/ 1620 w 10554"/>
              <a:gd name="connsiteY3" fmla="*/ 2975 h 9666"/>
              <a:gd name="connsiteX4" fmla="*/ 2888 w 10554"/>
              <a:gd name="connsiteY4" fmla="*/ 2975 h 9666"/>
              <a:gd name="connsiteX5" fmla="*/ 3955 w 10554"/>
              <a:gd name="connsiteY5" fmla="*/ 1821 h 9666"/>
              <a:gd name="connsiteX6" fmla="*/ 1097 w 10554"/>
              <a:gd name="connsiteY6" fmla="*/ 1821 h 9666"/>
              <a:gd name="connsiteX7" fmla="*/ 554 w 10554"/>
              <a:gd name="connsiteY7" fmla="*/ 2282 h 9666"/>
              <a:gd name="connsiteX8" fmla="*/ 554 w 10554"/>
              <a:gd name="connsiteY8" fmla="*/ 9308 h 9666"/>
              <a:gd name="connsiteX9" fmla="*/ 7153 w 10554"/>
              <a:gd name="connsiteY9" fmla="*/ 4333 h 9666"/>
              <a:gd name="connsiteX10" fmla="*/ 7153 w 10554"/>
              <a:gd name="connsiteY10" fmla="*/ 4333 h 9666"/>
              <a:gd name="connsiteX11" fmla="*/ 7153 w 10554"/>
              <a:gd name="connsiteY11" fmla="*/ 6590 h 9666"/>
              <a:gd name="connsiteX12" fmla="*/ 10554 w 10554"/>
              <a:gd name="connsiteY12" fmla="*/ 3205 h 9666"/>
              <a:gd name="connsiteX13" fmla="*/ 7153 w 10554"/>
              <a:gd name="connsiteY13" fmla="*/ 0 h 9666"/>
              <a:gd name="connsiteX14" fmla="*/ 7153 w 10554"/>
              <a:gd name="connsiteY14" fmla="*/ 2051 h 9666"/>
              <a:gd name="connsiteX15" fmla="*/ 3230 w 10554"/>
              <a:gd name="connsiteY15" fmla="*/ 7051 h 9666"/>
              <a:gd name="connsiteX16" fmla="*/ 7153 w 10554"/>
              <a:gd name="connsiteY16" fmla="*/ 4333 h 9666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535 w 10000"/>
              <a:gd name="connsiteY3" fmla="*/ 3078 h 10000"/>
              <a:gd name="connsiteX4" fmla="*/ 2736 w 10000"/>
              <a:gd name="connsiteY4" fmla="*/ 3078 h 10000"/>
              <a:gd name="connsiteX5" fmla="*/ 1039 w 10000"/>
              <a:gd name="connsiteY5" fmla="*/ 1884 h 10000"/>
              <a:gd name="connsiteX6" fmla="*/ 525 w 10000"/>
              <a:gd name="connsiteY6" fmla="*/ 2361 h 10000"/>
              <a:gd name="connsiteX7" fmla="*/ 525 w 10000"/>
              <a:gd name="connsiteY7" fmla="*/ 9630 h 10000"/>
              <a:gd name="connsiteX8" fmla="*/ 6778 w 10000"/>
              <a:gd name="connsiteY8" fmla="*/ 4483 h 10000"/>
              <a:gd name="connsiteX9" fmla="*/ 6778 w 10000"/>
              <a:gd name="connsiteY9" fmla="*/ 4483 h 10000"/>
              <a:gd name="connsiteX10" fmla="*/ 6778 w 10000"/>
              <a:gd name="connsiteY10" fmla="*/ 6818 h 10000"/>
              <a:gd name="connsiteX11" fmla="*/ 10000 w 10000"/>
              <a:gd name="connsiteY11" fmla="*/ 3316 h 10000"/>
              <a:gd name="connsiteX12" fmla="*/ 6778 w 10000"/>
              <a:gd name="connsiteY12" fmla="*/ 0 h 10000"/>
              <a:gd name="connsiteX13" fmla="*/ 6778 w 10000"/>
              <a:gd name="connsiteY13" fmla="*/ 2122 h 10000"/>
              <a:gd name="connsiteX14" fmla="*/ 3060 w 10000"/>
              <a:gd name="connsiteY14" fmla="*/ 7295 h 10000"/>
              <a:gd name="connsiteX15" fmla="*/ 6778 w 10000"/>
              <a:gd name="connsiteY15" fmla="*/ 4483 h 10000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535 w 10000"/>
              <a:gd name="connsiteY3" fmla="*/ 3078 h 10000"/>
              <a:gd name="connsiteX4" fmla="*/ 1039 w 10000"/>
              <a:gd name="connsiteY4" fmla="*/ 1884 h 10000"/>
              <a:gd name="connsiteX5" fmla="*/ 525 w 10000"/>
              <a:gd name="connsiteY5" fmla="*/ 2361 h 10000"/>
              <a:gd name="connsiteX6" fmla="*/ 525 w 10000"/>
              <a:gd name="connsiteY6" fmla="*/ 9630 h 10000"/>
              <a:gd name="connsiteX7" fmla="*/ 6778 w 10000"/>
              <a:gd name="connsiteY7" fmla="*/ 4483 h 10000"/>
              <a:gd name="connsiteX8" fmla="*/ 6778 w 10000"/>
              <a:gd name="connsiteY8" fmla="*/ 4483 h 10000"/>
              <a:gd name="connsiteX9" fmla="*/ 6778 w 10000"/>
              <a:gd name="connsiteY9" fmla="*/ 6818 h 10000"/>
              <a:gd name="connsiteX10" fmla="*/ 10000 w 10000"/>
              <a:gd name="connsiteY10" fmla="*/ 3316 h 10000"/>
              <a:gd name="connsiteX11" fmla="*/ 6778 w 10000"/>
              <a:gd name="connsiteY11" fmla="*/ 0 h 10000"/>
              <a:gd name="connsiteX12" fmla="*/ 6778 w 10000"/>
              <a:gd name="connsiteY12" fmla="*/ 2122 h 10000"/>
              <a:gd name="connsiteX13" fmla="*/ 3060 w 10000"/>
              <a:gd name="connsiteY13" fmla="*/ 7295 h 10000"/>
              <a:gd name="connsiteX14" fmla="*/ 6778 w 10000"/>
              <a:gd name="connsiteY14" fmla="*/ 4483 h 10000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039 w 10000"/>
              <a:gd name="connsiteY3" fmla="*/ 1884 h 10000"/>
              <a:gd name="connsiteX4" fmla="*/ 525 w 10000"/>
              <a:gd name="connsiteY4" fmla="*/ 2361 h 10000"/>
              <a:gd name="connsiteX5" fmla="*/ 525 w 10000"/>
              <a:gd name="connsiteY5" fmla="*/ 9630 h 10000"/>
              <a:gd name="connsiteX6" fmla="*/ 6778 w 10000"/>
              <a:gd name="connsiteY6" fmla="*/ 4483 h 10000"/>
              <a:gd name="connsiteX7" fmla="*/ 6778 w 10000"/>
              <a:gd name="connsiteY7" fmla="*/ 4483 h 10000"/>
              <a:gd name="connsiteX8" fmla="*/ 6778 w 10000"/>
              <a:gd name="connsiteY8" fmla="*/ 6818 h 10000"/>
              <a:gd name="connsiteX9" fmla="*/ 10000 w 10000"/>
              <a:gd name="connsiteY9" fmla="*/ 3316 h 10000"/>
              <a:gd name="connsiteX10" fmla="*/ 6778 w 10000"/>
              <a:gd name="connsiteY10" fmla="*/ 0 h 10000"/>
              <a:gd name="connsiteX11" fmla="*/ 6778 w 10000"/>
              <a:gd name="connsiteY11" fmla="*/ 2122 h 10000"/>
              <a:gd name="connsiteX12" fmla="*/ 3060 w 10000"/>
              <a:gd name="connsiteY12" fmla="*/ 7295 h 10000"/>
              <a:gd name="connsiteX13" fmla="*/ 6778 w 10000"/>
              <a:gd name="connsiteY13" fmla="*/ 4483 h 10000"/>
              <a:gd name="connsiteX0" fmla="*/ 564 w 10039"/>
              <a:gd name="connsiteY0" fmla="*/ 9630 h 10000"/>
              <a:gd name="connsiteX1" fmla="*/ 7656 w 10039"/>
              <a:gd name="connsiteY1" fmla="*/ 8940 h 10000"/>
              <a:gd name="connsiteX2" fmla="*/ 1574 w 10039"/>
              <a:gd name="connsiteY2" fmla="*/ 8940 h 10000"/>
              <a:gd name="connsiteX3" fmla="*/ 564 w 10039"/>
              <a:gd name="connsiteY3" fmla="*/ 2361 h 10000"/>
              <a:gd name="connsiteX4" fmla="*/ 564 w 10039"/>
              <a:gd name="connsiteY4" fmla="*/ 9630 h 10000"/>
              <a:gd name="connsiteX5" fmla="*/ 6817 w 10039"/>
              <a:gd name="connsiteY5" fmla="*/ 4483 h 10000"/>
              <a:gd name="connsiteX6" fmla="*/ 6817 w 10039"/>
              <a:gd name="connsiteY6" fmla="*/ 4483 h 10000"/>
              <a:gd name="connsiteX7" fmla="*/ 6817 w 10039"/>
              <a:gd name="connsiteY7" fmla="*/ 6818 h 10000"/>
              <a:gd name="connsiteX8" fmla="*/ 10039 w 10039"/>
              <a:gd name="connsiteY8" fmla="*/ 3316 h 10000"/>
              <a:gd name="connsiteX9" fmla="*/ 6817 w 10039"/>
              <a:gd name="connsiteY9" fmla="*/ 0 h 10000"/>
              <a:gd name="connsiteX10" fmla="*/ 6817 w 10039"/>
              <a:gd name="connsiteY10" fmla="*/ 2122 h 10000"/>
              <a:gd name="connsiteX11" fmla="*/ 3099 w 10039"/>
              <a:gd name="connsiteY11" fmla="*/ 7295 h 10000"/>
              <a:gd name="connsiteX12" fmla="*/ 6817 w 10039"/>
              <a:gd name="connsiteY12" fmla="*/ 4483 h 10000"/>
              <a:gd name="connsiteX0" fmla="*/ 454 w 9929"/>
              <a:gd name="connsiteY0" fmla="*/ 9630 h 10000"/>
              <a:gd name="connsiteX1" fmla="*/ 7546 w 9929"/>
              <a:gd name="connsiteY1" fmla="*/ 8940 h 10000"/>
              <a:gd name="connsiteX2" fmla="*/ 1464 w 9929"/>
              <a:gd name="connsiteY2" fmla="*/ 8940 h 10000"/>
              <a:gd name="connsiteX3" fmla="*/ 454 w 9929"/>
              <a:gd name="connsiteY3" fmla="*/ 9630 h 10000"/>
              <a:gd name="connsiteX4" fmla="*/ 6707 w 9929"/>
              <a:gd name="connsiteY4" fmla="*/ 4483 h 10000"/>
              <a:gd name="connsiteX5" fmla="*/ 6707 w 9929"/>
              <a:gd name="connsiteY5" fmla="*/ 4483 h 10000"/>
              <a:gd name="connsiteX6" fmla="*/ 6707 w 9929"/>
              <a:gd name="connsiteY6" fmla="*/ 6818 h 10000"/>
              <a:gd name="connsiteX7" fmla="*/ 9929 w 9929"/>
              <a:gd name="connsiteY7" fmla="*/ 3316 h 10000"/>
              <a:gd name="connsiteX8" fmla="*/ 6707 w 9929"/>
              <a:gd name="connsiteY8" fmla="*/ 0 h 10000"/>
              <a:gd name="connsiteX9" fmla="*/ 6707 w 9929"/>
              <a:gd name="connsiteY9" fmla="*/ 2122 h 10000"/>
              <a:gd name="connsiteX10" fmla="*/ 2989 w 9929"/>
              <a:gd name="connsiteY10" fmla="*/ 7295 h 10000"/>
              <a:gd name="connsiteX11" fmla="*/ 6707 w 9929"/>
              <a:gd name="connsiteY11" fmla="*/ 4483 h 10000"/>
              <a:gd name="connsiteX0" fmla="*/ 0 w 8526"/>
              <a:gd name="connsiteY0" fmla="*/ 8940 h 8940"/>
              <a:gd name="connsiteX1" fmla="*/ 6126 w 8526"/>
              <a:gd name="connsiteY1" fmla="*/ 8940 h 8940"/>
              <a:gd name="connsiteX2" fmla="*/ 0 w 8526"/>
              <a:gd name="connsiteY2" fmla="*/ 8940 h 8940"/>
              <a:gd name="connsiteX3" fmla="*/ 5281 w 8526"/>
              <a:gd name="connsiteY3" fmla="*/ 4483 h 8940"/>
              <a:gd name="connsiteX4" fmla="*/ 5281 w 8526"/>
              <a:gd name="connsiteY4" fmla="*/ 4483 h 8940"/>
              <a:gd name="connsiteX5" fmla="*/ 5281 w 8526"/>
              <a:gd name="connsiteY5" fmla="*/ 6818 h 8940"/>
              <a:gd name="connsiteX6" fmla="*/ 8526 w 8526"/>
              <a:gd name="connsiteY6" fmla="*/ 3316 h 8940"/>
              <a:gd name="connsiteX7" fmla="*/ 5281 w 8526"/>
              <a:gd name="connsiteY7" fmla="*/ 0 h 8940"/>
              <a:gd name="connsiteX8" fmla="*/ 5281 w 8526"/>
              <a:gd name="connsiteY8" fmla="*/ 2122 h 8940"/>
              <a:gd name="connsiteX9" fmla="*/ 1536 w 8526"/>
              <a:gd name="connsiteY9" fmla="*/ 7295 h 8940"/>
              <a:gd name="connsiteX10" fmla="*/ 5281 w 8526"/>
              <a:gd name="connsiteY10" fmla="*/ 4483 h 8940"/>
              <a:gd name="connsiteX0" fmla="*/ 4392 w 8198"/>
              <a:gd name="connsiteY0" fmla="*/ 5015 h 8160"/>
              <a:gd name="connsiteX1" fmla="*/ 4392 w 8198"/>
              <a:gd name="connsiteY1" fmla="*/ 5015 h 8160"/>
              <a:gd name="connsiteX2" fmla="*/ 4392 w 8198"/>
              <a:gd name="connsiteY2" fmla="*/ 7626 h 8160"/>
              <a:gd name="connsiteX3" fmla="*/ 8198 w 8198"/>
              <a:gd name="connsiteY3" fmla="*/ 3709 h 8160"/>
              <a:gd name="connsiteX4" fmla="*/ 4392 w 8198"/>
              <a:gd name="connsiteY4" fmla="*/ 0 h 8160"/>
              <a:gd name="connsiteX5" fmla="*/ 4392 w 8198"/>
              <a:gd name="connsiteY5" fmla="*/ 2374 h 8160"/>
              <a:gd name="connsiteX6" fmla="*/ 0 w 8198"/>
              <a:gd name="connsiteY6" fmla="*/ 8160 h 8160"/>
              <a:gd name="connsiteX7" fmla="*/ 4392 w 8198"/>
              <a:gd name="connsiteY7" fmla="*/ 5015 h 8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8" h="8160">
                <a:moveTo>
                  <a:pt x="4392" y="5015"/>
                </a:moveTo>
                <a:lnTo>
                  <a:pt x="4392" y="5015"/>
                </a:lnTo>
                <a:lnTo>
                  <a:pt x="4392" y="7626"/>
                </a:lnTo>
                <a:lnTo>
                  <a:pt x="8198" y="3709"/>
                </a:lnTo>
                <a:lnTo>
                  <a:pt x="4392" y="0"/>
                </a:lnTo>
                <a:lnTo>
                  <a:pt x="4392" y="2374"/>
                </a:lnTo>
                <a:cubicBezTo>
                  <a:pt x="0" y="2374"/>
                  <a:pt x="0" y="8160"/>
                  <a:pt x="0" y="8160"/>
                </a:cubicBezTo>
                <a:cubicBezTo>
                  <a:pt x="1194" y="5549"/>
                  <a:pt x="2005" y="5015"/>
                  <a:pt x="4392" y="501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  <a:extLst/>
        </p:spPr>
        <p:txBody>
          <a:bodyPr wrap="none" lIns="25718" tIns="12859" rIns="25718" bIns="12859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57" name="Freeform 4"/>
          <p:cNvSpPr>
            <a:spLocks noChangeArrowheads="1"/>
          </p:cNvSpPr>
          <p:nvPr/>
        </p:nvSpPr>
        <p:spPr bwMode="auto">
          <a:xfrm rot="14859652" flipH="1">
            <a:off x="1519790" y="3351709"/>
            <a:ext cx="710607" cy="542080"/>
          </a:xfrm>
          <a:custGeom>
            <a:avLst/>
            <a:gdLst>
              <a:gd name="T0" fmla="*/ 372 w 498"/>
              <a:gd name="T1" fmla="*/ 337 h 391"/>
              <a:gd name="T2" fmla="*/ 372 w 498"/>
              <a:gd name="T3" fmla="*/ 337 h 391"/>
              <a:gd name="T4" fmla="*/ 53 w 498"/>
              <a:gd name="T5" fmla="*/ 337 h 391"/>
              <a:gd name="T6" fmla="*/ 53 w 498"/>
              <a:gd name="T7" fmla="*/ 116 h 391"/>
              <a:gd name="T8" fmla="*/ 116 w 498"/>
              <a:gd name="T9" fmla="*/ 116 h 391"/>
              <a:gd name="T10" fmla="*/ 169 w 498"/>
              <a:gd name="T11" fmla="*/ 71 h 391"/>
              <a:gd name="T12" fmla="*/ 27 w 498"/>
              <a:gd name="T13" fmla="*/ 71 h 391"/>
              <a:gd name="T14" fmla="*/ 0 w 498"/>
              <a:gd name="T15" fmla="*/ 89 h 391"/>
              <a:gd name="T16" fmla="*/ 0 w 498"/>
              <a:gd name="T17" fmla="*/ 363 h 391"/>
              <a:gd name="T18" fmla="*/ 27 w 498"/>
              <a:gd name="T19" fmla="*/ 390 h 391"/>
              <a:gd name="T20" fmla="*/ 399 w 498"/>
              <a:gd name="T21" fmla="*/ 390 h 391"/>
              <a:gd name="T22" fmla="*/ 426 w 498"/>
              <a:gd name="T23" fmla="*/ 363 h 391"/>
              <a:gd name="T24" fmla="*/ 426 w 498"/>
              <a:gd name="T25" fmla="*/ 275 h 391"/>
              <a:gd name="T26" fmla="*/ 372 w 498"/>
              <a:gd name="T27" fmla="*/ 310 h 391"/>
              <a:gd name="T28" fmla="*/ 372 w 498"/>
              <a:gd name="T29" fmla="*/ 337 h 391"/>
              <a:gd name="T30" fmla="*/ 328 w 498"/>
              <a:gd name="T31" fmla="*/ 169 h 391"/>
              <a:gd name="T32" fmla="*/ 328 w 498"/>
              <a:gd name="T33" fmla="*/ 169 h 391"/>
              <a:gd name="T34" fmla="*/ 328 w 498"/>
              <a:gd name="T35" fmla="*/ 257 h 391"/>
              <a:gd name="T36" fmla="*/ 497 w 498"/>
              <a:gd name="T37" fmla="*/ 125 h 391"/>
              <a:gd name="T38" fmla="*/ 328 w 498"/>
              <a:gd name="T39" fmla="*/ 0 h 391"/>
              <a:gd name="T40" fmla="*/ 328 w 498"/>
              <a:gd name="T41" fmla="*/ 80 h 391"/>
              <a:gd name="T42" fmla="*/ 133 w 498"/>
              <a:gd name="T43" fmla="*/ 275 h 391"/>
              <a:gd name="T44" fmla="*/ 328 w 498"/>
              <a:gd name="T45" fmla="*/ 169 h 391"/>
              <a:gd name="connsiteX0" fmla="*/ 7470 w 9980"/>
              <a:gd name="connsiteY0" fmla="*/ 8619 h 9974"/>
              <a:gd name="connsiteX1" fmla="*/ 7470 w 9980"/>
              <a:gd name="connsiteY1" fmla="*/ 8619 h 9974"/>
              <a:gd name="connsiteX2" fmla="*/ 1064 w 9980"/>
              <a:gd name="connsiteY2" fmla="*/ 8619 h 9974"/>
              <a:gd name="connsiteX3" fmla="*/ 1064 w 9980"/>
              <a:gd name="connsiteY3" fmla="*/ 2967 h 9974"/>
              <a:gd name="connsiteX4" fmla="*/ 2329 w 9980"/>
              <a:gd name="connsiteY4" fmla="*/ 2967 h 9974"/>
              <a:gd name="connsiteX5" fmla="*/ 3394 w 9980"/>
              <a:gd name="connsiteY5" fmla="*/ 1816 h 9974"/>
              <a:gd name="connsiteX6" fmla="*/ 542 w 9980"/>
              <a:gd name="connsiteY6" fmla="*/ 1816 h 9974"/>
              <a:gd name="connsiteX7" fmla="*/ 0 w 9980"/>
              <a:gd name="connsiteY7" fmla="*/ 2276 h 9974"/>
              <a:gd name="connsiteX8" fmla="*/ 0 w 9980"/>
              <a:gd name="connsiteY8" fmla="*/ 9284 h 9974"/>
              <a:gd name="connsiteX9" fmla="*/ 542 w 9980"/>
              <a:gd name="connsiteY9" fmla="*/ 9974 h 9974"/>
              <a:gd name="connsiteX10" fmla="*/ 8012 w 9980"/>
              <a:gd name="connsiteY10" fmla="*/ 9974 h 9974"/>
              <a:gd name="connsiteX11" fmla="*/ 8554 w 9980"/>
              <a:gd name="connsiteY11" fmla="*/ 9284 h 9974"/>
              <a:gd name="connsiteX12" fmla="*/ 7470 w 9980"/>
              <a:gd name="connsiteY12" fmla="*/ 7928 h 9974"/>
              <a:gd name="connsiteX13" fmla="*/ 7470 w 9980"/>
              <a:gd name="connsiteY13" fmla="*/ 8619 h 9974"/>
              <a:gd name="connsiteX14" fmla="*/ 6586 w 9980"/>
              <a:gd name="connsiteY14" fmla="*/ 4322 h 9974"/>
              <a:gd name="connsiteX15" fmla="*/ 6586 w 9980"/>
              <a:gd name="connsiteY15" fmla="*/ 4322 h 9974"/>
              <a:gd name="connsiteX16" fmla="*/ 6586 w 9980"/>
              <a:gd name="connsiteY16" fmla="*/ 6573 h 9974"/>
              <a:gd name="connsiteX17" fmla="*/ 9980 w 9980"/>
              <a:gd name="connsiteY17" fmla="*/ 3197 h 9974"/>
              <a:gd name="connsiteX18" fmla="*/ 6586 w 9980"/>
              <a:gd name="connsiteY18" fmla="*/ 0 h 9974"/>
              <a:gd name="connsiteX19" fmla="*/ 6586 w 9980"/>
              <a:gd name="connsiteY19" fmla="*/ 2046 h 9974"/>
              <a:gd name="connsiteX20" fmla="*/ 2671 w 9980"/>
              <a:gd name="connsiteY20" fmla="*/ 7033 h 9974"/>
              <a:gd name="connsiteX21" fmla="*/ 6586 w 9980"/>
              <a:gd name="connsiteY21" fmla="*/ 4322 h 9974"/>
              <a:gd name="connsiteX0" fmla="*/ 7485 w 10000"/>
              <a:gd name="connsiteY0" fmla="*/ 8641 h 10152"/>
              <a:gd name="connsiteX1" fmla="*/ 7485 w 10000"/>
              <a:gd name="connsiteY1" fmla="*/ 8641 h 10152"/>
              <a:gd name="connsiteX2" fmla="*/ 1066 w 10000"/>
              <a:gd name="connsiteY2" fmla="*/ 8641 h 10152"/>
              <a:gd name="connsiteX3" fmla="*/ 1066 w 10000"/>
              <a:gd name="connsiteY3" fmla="*/ 2975 h 10152"/>
              <a:gd name="connsiteX4" fmla="*/ 2334 w 10000"/>
              <a:gd name="connsiteY4" fmla="*/ 2975 h 10152"/>
              <a:gd name="connsiteX5" fmla="*/ 3401 w 10000"/>
              <a:gd name="connsiteY5" fmla="*/ 1821 h 10152"/>
              <a:gd name="connsiteX6" fmla="*/ 543 w 10000"/>
              <a:gd name="connsiteY6" fmla="*/ 1821 h 10152"/>
              <a:gd name="connsiteX7" fmla="*/ 0 w 10000"/>
              <a:gd name="connsiteY7" fmla="*/ 2282 h 10152"/>
              <a:gd name="connsiteX8" fmla="*/ 0 w 10000"/>
              <a:gd name="connsiteY8" fmla="*/ 9308 h 10152"/>
              <a:gd name="connsiteX9" fmla="*/ 543 w 10000"/>
              <a:gd name="connsiteY9" fmla="*/ 10000 h 10152"/>
              <a:gd name="connsiteX10" fmla="*/ 8028 w 10000"/>
              <a:gd name="connsiteY10" fmla="*/ 10000 h 10152"/>
              <a:gd name="connsiteX11" fmla="*/ 7485 w 10000"/>
              <a:gd name="connsiteY11" fmla="*/ 7949 h 10152"/>
              <a:gd name="connsiteX12" fmla="*/ 7485 w 10000"/>
              <a:gd name="connsiteY12" fmla="*/ 8641 h 10152"/>
              <a:gd name="connsiteX13" fmla="*/ 6599 w 10000"/>
              <a:gd name="connsiteY13" fmla="*/ 4333 h 10152"/>
              <a:gd name="connsiteX14" fmla="*/ 6599 w 10000"/>
              <a:gd name="connsiteY14" fmla="*/ 4333 h 10152"/>
              <a:gd name="connsiteX15" fmla="*/ 6599 w 10000"/>
              <a:gd name="connsiteY15" fmla="*/ 6590 h 10152"/>
              <a:gd name="connsiteX16" fmla="*/ 10000 w 10000"/>
              <a:gd name="connsiteY16" fmla="*/ 3205 h 10152"/>
              <a:gd name="connsiteX17" fmla="*/ 6599 w 10000"/>
              <a:gd name="connsiteY17" fmla="*/ 0 h 10152"/>
              <a:gd name="connsiteX18" fmla="*/ 6599 w 10000"/>
              <a:gd name="connsiteY18" fmla="*/ 2051 h 10152"/>
              <a:gd name="connsiteX19" fmla="*/ 2676 w 10000"/>
              <a:gd name="connsiteY19" fmla="*/ 7051 h 10152"/>
              <a:gd name="connsiteX20" fmla="*/ 6599 w 10000"/>
              <a:gd name="connsiteY20" fmla="*/ 4333 h 10152"/>
              <a:gd name="connsiteX0" fmla="*/ 7485 w 10000"/>
              <a:gd name="connsiteY0" fmla="*/ 8641 h 10100"/>
              <a:gd name="connsiteX1" fmla="*/ 7485 w 10000"/>
              <a:gd name="connsiteY1" fmla="*/ 8641 h 10100"/>
              <a:gd name="connsiteX2" fmla="*/ 1066 w 10000"/>
              <a:gd name="connsiteY2" fmla="*/ 8641 h 10100"/>
              <a:gd name="connsiteX3" fmla="*/ 1066 w 10000"/>
              <a:gd name="connsiteY3" fmla="*/ 2975 h 10100"/>
              <a:gd name="connsiteX4" fmla="*/ 2334 w 10000"/>
              <a:gd name="connsiteY4" fmla="*/ 2975 h 10100"/>
              <a:gd name="connsiteX5" fmla="*/ 3401 w 10000"/>
              <a:gd name="connsiteY5" fmla="*/ 1821 h 10100"/>
              <a:gd name="connsiteX6" fmla="*/ 543 w 10000"/>
              <a:gd name="connsiteY6" fmla="*/ 1821 h 10100"/>
              <a:gd name="connsiteX7" fmla="*/ 0 w 10000"/>
              <a:gd name="connsiteY7" fmla="*/ 2282 h 10100"/>
              <a:gd name="connsiteX8" fmla="*/ 0 w 10000"/>
              <a:gd name="connsiteY8" fmla="*/ 9308 h 10100"/>
              <a:gd name="connsiteX9" fmla="*/ 543 w 10000"/>
              <a:gd name="connsiteY9" fmla="*/ 10000 h 10100"/>
              <a:gd name="connsiteX10" fmla="*/ 8028 w 10000"/>
              <a:gd name="connsiteY10" fmla="*/ 10000 h 10100"/>
              <a:gd name="connsiteX11" fmla="*/ 7485 w 10000"/>
              <a:gd name="connsiteY11" fmla="*/ 8641 h 10100"/>
              <a:gd name="connsiteX12" fmla="*/ 6599 w 10000"/>
              <a:gd name="connsiteY12" fmla="*/ 4333 h 10100"/>
              <a:gd name="connsiteX13" fmla="*/ 6599 w 10000"/>
              <a:gd name="connsiteY13" fmla="*/ 4333 h 10100"/>
              <a:gd name="connsiteX14" fmla="*/ 6599 w 10000"/>
              <a:gd name="connsiteY14" fmla="*/ 6590 h 10100"/>
              <a:gd name="connsiteX15" fmla="*/ 10000 w 10000"/>
              <a:gd name="connsiteY15" fmla="*/ 3205 h 10100"/>
              <a:gd name="connsiteX16" fmla="*/ 6599 w 10000"/>
              <a:gd name="connsiteY16" fmla="*/ 0 h 10100"/>
              <a:gd name="connsiteX17" fmla="*/ 6599 w 10000"/>
              <a:gd name="connsiteY17" fmla="*/ 2051 h 10100"/>
              <a:gd name="connsiteX18" fmla="*/ 2676 w 10000"/>
              <a:gd name="connsiteY18" fmla="*/ 7051 h 10100"/>
              <a:gd name="connsiteX19" fmla="*/ 6599 w 10000"/>
              <a:gd name="connsiteY19" fmla="*/ 4333 h 10100"/>
              <a:gd name="connsiteX0" fmla="*/ 7682 w 10197"/>
              <a:gd name="connsiteY0" fmla="*/ 8641 h 10022"/>
              <a:gd name="connsiteX1" fmla="*/ 7682 w 10197"/>
              <a:gd name="connsiteY1" fmla="*/ 8641 h 10022"/>
              <a:gd name="connsiteX2" fmla="*/ 1263 w 10197"/>
              <a:gd name="connsiteY2" fmla="*/ 8641 h 10022"/>
              <a:gd name="connsiteX3" fmla="*/ 1263 w 10197"/>
              <a:gd name="connsiteY3" fmla="*/ 2975 h 10022"/>
              <a:gd name="connsiteX4" fmla="*/ 2531 w 10197"/>
              <a:gd name="connsiteY4" fmla="*/ 2975 h 10022"/>
              <a:gd name="connsiteX5" fmla="*/ 3598 w 10197"/>
              <a:gd name="connsiteY5" fmla="*/ 1821 h 10022"/>
              <a:gd name="connsiteX6" fmla="*/ 740 w 10197"/>
              <a:gd name="connsiteY6" fmla="*/ 1821 h 10022"/>
              <a:gd name="connsiteX7" fmla="*/ 197 w 10197"/>
              <a:gd name="connsiteY7" fmla="*/ 2282 h 10022"/>
              <a:gd name="connsiteX8" fmla="*/ 197 w 10197"/>
              <a:gd name="connsiteY8" fmla="*/ 9308 h 10022"/>
              <a:gd name="connsiteX9" fmla="*/ 740 w 10197"/>
              <a:gd name="connsiteY9" fmla="*/ 10000 h 10022"/>
              <a:gd name="connsiteX10" fmla="*/ 7682 w 10197"/>
              <a:gd name="connsiteY10" fmla="*/ 8641 h 10022"/>
              <a:gd name="connsiteX11" fmla="*/ 6796 w 10197"/>
              <a:gd name="connsiteY11" fmla="*/ 4333 h 10022"/>
              <a:gd name="connsiteX12" fmla="*/ 6796 w 10197"/>
              <a:gd name="connsiteY12" fmla="*/ 4333 h 10022"/>
              <a:gd name="connsiteX13" fmla="*/ 6796 w 10197"/>
              <a:gd name="connsiteY13" fmla="*/ 6590 h 10022"/>
              <a:gd name="connsiteX14" fmla="*/ 10197 w 10197"/>
              <a:gd name="connsiteY14" fmla="*/ 3205 h 10022"/>
              <a:gd name="connsiteX15" fmla="*/ 6796 w 10197"/>
              <a:gd name="connsiteY15" fmla="*/ 0 h 10022"/>
              <a:gd name="connsiteX16" fmla="*/ 6796 w 10197"/>
              <a:gd name="connsiteY16" fmla="*/ 2051 h 10022"/>
              <a:gd name="connsiteX17" fmla="*/ 2873 w 10197"/>
              <a:gd name="connsiteY17" fmla="*/ 7051 h 10022"/>
              <a:gd name="connsiteX18" fmla="*/ 6796 w 10197"/>
              <a:gd name="connsiteY18" fmla="*/ 4333 h 10022"/>
              <a:gd name="connsiteX0" fmla="*/ 740 w 10197"/>
              <a:gd name="connsiteY0" fmla="*/ 10000 h 10022"/>
              <a:gd name="connsiteX1" fmla="*/ 7682 w 10197"/>
              <a:gd name="connsiteY1" fmla="*/ 8641 h 10022"/>
              <a:gd name="connsiteX2" fmla="*/ 1263 w 10197"/>
              <a:gd name="connsiteY2" fmla="*/ 8641 h 10022"/>
              <a:gd name="connsiteX3" fmla="*/ 1263 w 10197"/>
              <a:gd name="connsiteY3" fmla="*/ 2975 h 10022"/>
              <a:gd name="connsiteX4" fmla="*/ 2531 w 10197"/>
              <a:gd name="connsiteY4" fmla="*/ 2975 h 10022"/>
              <a:gd name="connsiteX5" fmla="*/ 3598 w 10197"/>
              <a:gd name="connsiteY5" fmla="*/ 1821 h 10022"/>
              <a:gd name="connsiteX6" fmla="*/ 740 w 10197"/>
              <a:gd name="connsiteY6" fmla="*/ 1821 h 10022"/>
              <a:gd name="connsiteX7" fmla="*/ 197 w 10197"/>
              <a:gd name="connsiteY7" fmla="*/ 2282 h 10022"/>
              <a:gd name="connsiteX8" fmla="*/ 197 w 10197"/>
              <a:gd name="connsiteY8" fmla="*/ 9308 h 10022"/>
              <a:gd name="connsiteX9" fmla="*/ 740 w 10197"/>
              <a:gd name="connsiteY9" fmla="*/ 10000 h 10022"/>
              <a:gd name="connsiteX10" fmla="*/ 6796 w 10197"/>
              <a:gd name="connsiteY10" fmla="*/ 4333 h 10022"/>
              <a:gd name="connsiteX11" fmla="*/ 6796 w 10197"/>
              <a:gd name="connsiteY11" fmla="*/ 4333 h 10022"/>
              <a:gd name="connsiteX12" fmla="*/ 6796 w 10197"/>
              <a:gd name="connsiteY12" fmla="*/ 6590 h 10022"/>
              <a:gd name="connsiteX13" fmla="*/ 10197 w 10197"/>
              <a:gd name="connsiteY13" fmla="*/ 3205 h 10022"/>
              <a:gd name="connsiteX14" fmla="*/ 6796 w 10197"/>
              <a:gd name="connsiteY14" fmla="*/ 0 h 10022"/>
              <a:gd name="connsiteX15" fmla="*/ 6796 w 10197"/>
              <a:gd name="connsiteY15" fmla="*/ 2051 h 10022"/>
              <a:gd name="connsiteX16" fmla="*/ 2873 w 10197"/>
              <a:gd name="connsiteY16" fmla="*/ 7051 h 10022"/>
              <a:gd name="connsiteX17" fmla="*/ 6796 w 10197"/>
              <a:gd name="connsiteY17" fmla="*/ 4333 h 10022"/>
              <a:gd name="connsiteX0" fmla="*/ 554 w 10554"/>
              <a:gd name="connsiteY0" fmla="*/ 9308 h 9666"/>
              <a:gd name="connsiteX1" fmla="*/ 8039 w 10554"/>
              <a:gd name="connsiteY1" fmla="*/ 8641 h 9666"/>
              <a:gd name="connsiteX2" fmla="*/ 1620 w 10554"/>
              <a:gd name="connsiteY2" fmla="*/ 8641 h 9666"/>
              <a:gd name="connsiteX3" fmla="*/ 1620 w 10554"/>
              <a:gd name="connsiteY3" fmla="*/ 2975 h 9666"/>
              <a:gd name="connsiteX4" fmla="*/ 2888 w 10554"/>
              <a:gd name="connsiteY4" fmla="*/ 2975 h 9666"/>
              <a:gd name="connsiteX5" fmla="*/ 3955 w 10554"/>
              <a:gd name="connsiteY5" fmla="*/ 1821 h 9666"/>
              <a:gd name="connsiteX6" fmla="*/ 1097 w 10554"/>
              <a:gd name="connsiteY6" fmla="*/ 1821 h 9666"/>
              <a:gd name="connsiteX7" fmla="*/ 554 w 10554"/>
              <a:gd name="connsiteY7" fmla="*/ 2282 h 9666"/>
              <a:gd name="connsiteX8" fmla="*/ 554 w 10554"/>
              <a:gd name="connsiteY8" fmla="*/ 9308 h 9666"/>
              <a:gd name="connsiteX9" fmla="*/ 7153 w 10554"/>
              <a:gd name="connsiteY9" fmla="*/ 4333 h 9666"/>
              <a:gd name="connsiteX10" fmla="*/ 7153 w 10554"/>
              <a:gd name="connsiteY10" fmla="*/ 4333 h 9666"/>
              <a:gd name="connsiteX11" fmla="*/ 7153 w 10554"/>
              <a:gd name="connsiteY11" fmla="*/ 6590 h 9666"/>
              <a:gd name="connsiteX12" fmla="*/ 10554 w 10554"/>
              <a:gd name="connsiteY12" fmla="*/ 3205 h 9666"/>
              <a:gd name="connsiteX13" fmla="*/ 7153 w 10554"/>
              <a:gd name="connsiteY13" fmla="*/ 0 h 9666"/>
              <a:gd name="connsiteX14" fmla="*/ 7153 w 10554"/>
              <a:gd name="connsiteY14" fmla="*/ 2051 h 9666"/>
              <a:gd name="connsiteX15" fmla="*/ 3230 w 10554"/>
              <a:gd name="connsiteY15" fmla="*/ 7051 h 9666"/>
              <a:gd name="connsiteX16" fmla="*/ 7153 w 10554"/>
              <a:gd name="connsiteY16" fmla="*/ 4333 h 9666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535 w 10000"/>
              <a:gd name="connsiteY3" fmla="*/ 3078 h 10000"/>
              <a:gd name="connsiteX4" fmla="*/ 2736 w 10000"/>
              <a:gd name="connsiteY4" fmla="*/ 3078 h 10000"/>
              <a:gd name="connsiteX5" fmla="*/ 1039 w 10000"/>
              <a:gd name="connsiteY5" fmla="*/ 1884 h 10000"/>
              <a:gd name="connsiteX6" fmla="*/ 525 w 10000"/>
              <a:gd name="connsiteY6" fmla="*/ 2361 h 10000"/>
              <a:gd name="connsiteX7" fmla="*/ 525 w 10000"/>
              <a:gd name="connsiteY7" fmla="*/ 9630 h 10000"/>
              <a:gd name="connsiteX8" fmla="*/ 6778 w 10000"/>
              <a:gd name="connsiteY8" fmla="*/ 4483 h 10000"/>
              <a:gd name="connsiteX9" fmla="*/ 6778 w 10000"/>
              <a:gd name="connsiteY9" fmla="*/ 4483 h 10000"/>
              <a:gd name="connsiteX10" fmla="*/ 6778 w 10000"/>
              <a:gd name="connsiteY10" fmla="*/ 6818 h 10000"/>
              <a:gd name="connsiteX11" fmla="*/ 10000 w 10000"/>
              <a:gd name="connsiteY11" fmla="*/ 3316 h 10000"/>
              <a:gd name="connsiteX12" fmla="*/ 6778 w 10000"/>
              <a:gd name="connsiteY12" fmla="*/ 0 h 10000"/>
              <a:gd name="connsiteX13" fmla="*/ 6778 w 10000"/>
              <a:gd name="connsiteY13" fmla="*/ 2122 h 10000"/>
              <a:gd name="connsiteX14" fmla="*/ 3060 w 10000"/>
              <a:gd name="connsiteY14" fmla="*/ 7295 h 10000"/>
              <a:gd name="connsiteX15" fmla="*/ 6778 w 10000"/>
              <a:gd name="connsiteY15" fmla="*/ 4483 h 10000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535 w 10000"/>
              <a:gd name="connsiteY3" fmla="*/ 3078 h 10000"/>
              <a:gd name="connsiteX4" fmla="*/ 1039 w 10000"/>
              <a:gd name="connsiteY4" fmla="*/ 1884 h 10000"/>
              <a:gd name="connsiteX5" fmla="*/ 525 w 10000"/>
              <a:gd name="connsiteY5" fmla="*/ 2361 h 10000"/>
              <a:gd name="connsiteX6" fmla="*/ 525 w 10000"/>
              <a:gd name="connsiteY6" fmla="*/ 9630 h 10000"/>
              <a:gd name="connsiteX7" fmla="*/ 6778 w 10000"/>
              <a:gd name="connsiteY7" fmla="*/ 4483 h 10000"/>
              <a:gd name="connsiteX8" fmla="*/ 6778 w 10000"/>
              <a:gd name="connsiteY8" fmla="*/ 4483 h 10000"/>
              <a:gd name="connsiteX9" fmla="*/ 6778 w 10000"/>
              <a:gd name="connsiteY9" fmla="*/ 6818 h 10000"/>
              <a:gd name="connsiteX10" fmla="*/ 10000 w 10000"/>
              <a:gd name="connsiteY10" fmla="*/ 3316 h 10000"/>
              <a:gd name="connsiteX11" fmla="*/ 6778 w 10000"/>
              <a:gd name="connsiteY11" fmla="*/ 0 h 10000"/>
              <a:gd name="connsiteX12" fmla="*/ 6778 w 10000"/>
              <a:gd name="connsiteY12" fmla="*/ 2122 h 10000"/>
              <a:gd name="connsiteX13" fmla="*/ 3060 w 10000"/>
              <a:gd name="connsiteY13" fmla="*/ 7295 h 10000"/>
              <a:gd name="connsiteX14" fmla="*/ 6778 w 10000"/>
              <a:gd name="connsiteY14" fmla="*/ 4483 h 10000"/>
              <a:gd name="connsiteX0" fmla="*/ 525 w 10000"/>
              <a:gd name="connsiteY0" fmla="*/ 9630 h 10000"/>
              <a:gd name="connsiteX1" fmla="*/ 7617 w 10000"/>
              <a:gd name="connsiteY1" fmla="*/ 8940 h 10000"/>
              <a:gd name="connsiteX2" fmla="*/ 1535 w 10000"/>
              <a:gd name="connsiteY2" fmla="*/ 8940 h 10000"/>
              <a:gd name="connsiteX3" fmla="*/ 1039 w 10000"/>
              <a:gd name="connsiteY3" fmla="*/ 1884 h 10000"/>
              <a:gd name="connsiteX4" fmla="*/ 525 w 10000"/>
              <a:gd name="connsiteY4" fmla="*/ 2361 h 10000"/>
              <a:gd name="connsiteX5" fmla="*/ 525 w 10000"/>
              <a:gd name="connsiteY5" fmla="*/ 9630 h 10000"/>
              <a:gd name="connsiteX6" fmla="*/ 6778 w 10000"/>
              <a:gd name="connsiteY6" fmla="*/ 4483 h 10000"/>
              <a:gd name="connsiteX7" fmla="*/ 6778 w 10000"/>
              <a:gd name="connsiteY7" fmla="*/ 4483 h 10000"/>
              <a:gd name="connsiteX8" fmla="*/ 6778 w 10000"/>
              <a:gd name="connsiteY8" fmla="*/ 6818 h 10000"/>
              <a:gd name="connsiteX9" fmla="*/ 10000 w 10000"/>
              <a:gd name="connsiteY9" fmla="*/ 3316 h 10000"/>
              <a:gd name="connsiteX10" fmla="*/ 6778 w 10000"/>
              <a:gd name="connsiteY10" fmla="*/ 0 h 10000"/>
              <a:gd name="connsiteX11" fmla="*/ 6778 w 10000"/>
              <a:gd name="connsiteY11" fmla="*/ 2122 h 10000"/>
              <a:gd name="connsiteX12" fmla="*/ 3060 w 10000"/>
              <a:gd name="connsiteY12" fmla="*/ 7295 h 10000"/>
              <a:gd name="connsiteX13" fmla="*/ 6778 w 10000"/>
              <a:gd name="connsiteY13" fmla="*/ 4483 h 10000"/>
              <a:gd name="connsiteX0" fmla="*/ 564 w 10039"/>
              <a:gd name="connsiteY0" fmla="*/ 9630 h 10000"/>
              <a:gd name="connsiteX1" fmla="*/ 7656 w 10039"/>
              <a:gd name="connsiteY1" fmla="*/ 8940 h 10000"/>
              <a:gd name="connsiteX2" fmla="*/ 1574 w 10039"/>
              <a:gd name="connsiteY2" fmla="*/ 8940 h 10000"/>
              <a:gd name="connsiteX3" fmla="*/ 564 w 10039"/>
              <a:gd name="connsiteY3" fmla="*/ 2361 h 10000"/>
              <a:gd name="connsiteX4" fmla="*/ 564 w 10039"/>
              <a:gd name="connsiteY4" fmla="*/ 9630 h 10000"/>
              <a:gd name="connsiteX5" fmla="*/ 6817 w 10039"/>
              <a:gd name="connsiteY5" fmla="*/ 4483 h 10000"/>
              <a:gd name="connsiteX6" fmla="*/ 6817 w 10039"/>
              <a:gd name="connsiteY6" fmla="*/ 4483 h 10000"/>
              <a:gd name="connsiteX7" fmla="*/ 6817 w 10039"/>
              <a:gd name="connsiteY7" fmla="*/ 6818 h 10000"/>
              <a:gd name="connsiteX8" fmla="*/ 10039 w 10039"/>
              <a:gd name="connsiteY8" fmla="*/ 3316 h 10000"/>
              <a:gd name="connsiteX9" fmla="*/ 6817 w 10039"/>
              <a:gd name="connsiteY9" fmla="*/ 0 h 10000"/>
              <a:gd name="connsiteX10" fmla="*/ 6817 w 10039"/>
              <a:gd name="connsiteY10" fmla="*/ 2122 h 10000"/>
              <a:gd name="connsiteX11" fmla="*/ 3099 w 10039"/>
              <a:gd name="connsiteY11" fmla="*/ 7295 h 10000"/>
              <a:gd name="connsiteX12" fmla="*/ 6817 w 10039"/>
              <a:gd name="connsiteY12" fmla="*/ 4483 h 10000"/>
              <a:gd name="connsiteX0" fmla="*/ 454 w 9929"/>
              <a:gd name="connsiteY0" fmla="*/ 9630 h 10000"/>
              <a:gd name="connsiteX1" fmla="*/ 7546 w 9929"/>
              <a:gd name="connsiteY1" fmla="*/ 8940 h 10000"/>
              <a:gd name="connsiteX2" fmla="*/ 1464 w 9929"/>
              <a:gd name="connsiteY2" fmla="*/ 8940 h 10000"/>
              <a:gd name="connsiteX3" fmla="*/ 454 w 9929"/>
              <a:gd name="connsiteY3" fmla="*/ 9630 h 10000"/>
              <a:gd name="connsiteX4" fmla="*/ 6707 w 9929"/>
              <a:gd name="connsiteY4" fmla="*/ 4483 h 10000"/>
              <a:gd name="connsiteX5" fmla="*/ 6707 w 9929"/>
              <a:gd name="connsiteY5" fmla="*/ 4483 h 10000"/>
              <a:gd name="connsiteX6" fmla="*/ 6707 w 9929"/>
              <a:gd name="connsiteY6" fmla="*/ 6818 h 10000"/>
              <a:gd name="connsiteX7" fmla="*/ 9929 w 9929"/>
              <a:gd name="connsiteY7" fmla="*/ 3316 h 10000"/>
              <a:gd name="connsiteX8" fmla="*/ 6707 w 9929"/>
              <a:gd name="connsiteY8" fmla="*/ 0 h 10000"/>
              <a:gd name="connsiteX9" fmla="*/ 6707 w 9929"/>
              <a:gd name="connsiteY9" fmla="*/ 2122 h 10000"/>
              <a:gd name="connsiteX10" fmla="*/ 2989 w 9929"/>
              <a:gd name="connsiteY10" fmla="*/ 7295 h 10000"/>
              <a:gd name="connsiteX11" fmla="*/ 6707 w 9929"/>
              <a:gd name="connsiteY11" fmla="*/ 4483 h 10000"/>
              <a:gd name="connsiteX0" fmla="*/ 0 w 8526"/>
              <a:gd name="connsiteY0" fmla="*/ 8940 h 8940"/>
              <a:gd name="connsiteX1" fmla="*/ 6126 w 8526"/>
              <a:gd name="connsiteY1" fmla="*/ 8940 h 8940"/>
              <a:gd name="connsiteX2" fmla="*/ 0 w 8526"/>
              <a:gd name="connsiteY2" fmla="*/ 8940 h 8940"/>
              <a:gd name="connsiteX3" fmla="*/ 5281 w 8526"/>
              <a:gd name="connsiteY3" fmla="*/ 4483 h 8940"/>
              <a:gd name="connsiteX4" fmla="*/ 5281 w 8526"/>
              <a:gd name="connsiteY4" fmla="*/ 4483 h 8940"/>
              <a:gd name="connsiteX5" fmla="*/ 5281 w 8526"/>
              <a:gd name="connsiteY5" fmla="*/ 6818 h 8940"/>
              <a:gd name="connsiteX6" fmla="*/ 8526 w 8526"/>
              <a:gd name="connsiteY6" fmla="*/ 3316 h 8940"/>
              <a:gd name="connsiteX7" fmla="*/ 5281 w 8526"/>
              <a:gd name="connsiteY7" fmla="*/ 0 h 8940"/>
              <a:gd name="connsiteX8" fmla="*/ 5281 w 8526"/>
              <a:gd name="connsiteY8" fmla="*/ 2122 h 8940"/>
              <a:gd name="connsiteX9" fmla="*/ 1536 w 8526"/>
              <a:gd name="connsiteY9" fmla="*/ 7295 h 8940"/>
              <a:gd name="connsiteX10" fmla="*/ 5281 w 8526"/>
              <a:gd name="connsiteY10" fmla="*/ 4483 h 8940"/>
              <a:gd name="connsiteX0" fmla="*/ 4392 w 8198"/>
              <a:gd name="connsiteY0" fmla="*/ 5015 h 8160"/>
              <a:gd name="connsiteX1" fmla="*/ 4392 w 8198"/>
              <a:gd name="connsiteY1" fmla="*/ 5015 h 8160"/>
              <a:gd name="connsiteX2" fmla="*/ 4392 w 8198"/>
              <a:gd name="connsiteY2" fmla="*/ 7626 h 8160"/>
              <a:gd name="connsiteX3" fmla="*/ 8198 w 8198"/>
              <a:gd name="connsiteY3" fmla="*/ 3709 h 8160"/>
              <a:gd name="connsiteX4" fmla="*/ 4392 w 8198"/>
              <a:gd name="connsiteY4" fmla="*/ 0 h 8160"/>
              <a:gd name="connsiteX5" fmla="*/ 4392 w 8198"/>
              <a:gd name="connsiteY5" fmla="*/ 2374 h 8160"/>
              <a:gd name="connsiteX6" fmla="*/ 0 w 8198"/>
              <a:gd name="connsiteY6" fmla="*/ 8160 h 8160"/>
              <a:gd name="connsiteX7" fmla="*/ 4392 w 8198"/>
              <a:gd name="connsiteY7" fmla="*/ 5015 h 8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8" h="8160">
                <a:moveTo>
                  <a:pt x="4392" y="5015"/>
                </a:moveTo>
                <a:lnTo>
                  <a:pt x="4392" y="5015"/>
                </a:lnTo>
                <a:lnTo>
                  <a:pt x="4392" y="7626"/>
                </a:lnTo>
                <a:lnTo>
                  <a:pt x="8198" y="3709"/>
                </a:lnTo>
                <a:lnTo>
                  <a:pt x="4392" y="0"/>
                </a:lnTo>
                <a:lnTo>
                  <a:pt x="4392" y="2374"/>
                </a:lnTo>
                <a:cubicBezTo>
                  <a:pt x="0" y="2374"/>
                  <a:pt x="0" y="8160"/>
                  <a:pt x="0" y="8160"/>
                </a:cubicBezTo>
                <a:cubicBezTo>
                  <a:pt x="1194" y="5549"/>
                  <a:pt x="2005" y="5015"/>
                  <a:pt x="4392" y="501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  <a:extLst/>
        </p:spPr>
        <p:txBody>
          <a:bodyPr wrap="none" lIns="25718" tIns="12859" rIns="25718" bIns="12859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35" name="Espace réservé du texte 2"/>
          <p:cNvSpPr txBox="1">
            <a:spLocks/>
          </p:cNvSpPr>
          <p:nvPr/>
        </p:nvSpPr>
        <p:spPr>
          <a:xfrm>
            <a:off x="304799" y="266513"/>
            <a:ext cx="8534400" cy="692337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800" b="1" dirty="0" smtClean="0">
                <a:solidFill>
                  <a:srgbClr val="C2113A"/>
                </a:solidFill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LES MÉTHODES DE PERFORMANCE</a:t>
            </a:r>
            <a:endParaRPr lang="en-US" sz="1800" b="1" dirty="0">
              <a:solidFill>
                <a:srgbClr val="C2113A"/>
              </a:solidFill>
              <a:latin typeface="Gill Sans" panose="020B0604020202020204"/>
              <a:ea typeface="Calibri" panose="020F0502020204030204" pitchFamily="34" charset="0"/>
              <a:cs typeface="Helvetica Neue" panose="02000806000000020004" pitchFamily="5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20649C47-5589-441C-BA86-9AD3703DCD2A}" type="slidenum">
              <a:rPr lang="fr-FR" sz="1200" smtClean="0">
                <a:latin typeface="Gill Sans" panose="020B0604020202020204"/>
              </a:rPr>
              <a:pPr algn="ctr"/>
              <a:t>11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572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2"/>
          <p:cNvSpPr txBox="1">
            <a:spLocks/>
          </p:cNvSpPr>
          <p:nvPr/>
        </p:nvSpPr>
        <p:spPr>
          <a:xfrm>
            <a:off x="304799" y="266513"/>
            <a:ext cx="8534400" cy="692337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800" b="1" smtClean="0">
                <a:solidFill>
                  <a:srgbClr val="C2113A"/>
                </a:solidFill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LES MÉTHODES DE PERFORMANCE</a:t>
            </a:r>
            <a:endParaRPr lang="en-US" sz="1800" b="1" dirty="0">
              <a:solidFill>
                <a:srgbClr val="C2113A"/>
              </a:solidFill>
              <a:latin typeface="Gill Sans" panose="020B0604020202020204"/>
              <a:ea typeface="Calibri" panose="020F0502020204030204" pitchFamily="34" charset="0"/>
              <a:cs typeface="Helvetica Neue" panose="02000806000000020004" pitchFamily="50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304224" y="958849"/>
            <a:ext cx="8534400" cy="1949252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L</a:t>
            </a:r>
            <a:r>
              <a:rPr lang="fr-FR" sz="2000" b="1" dirty="0" smtClean="0">
                <a:solidFill>
                  <a:srgbClr val="17375E"/>
                </a:solidFill>
                <a:latin typeface="Gill Sans" panose="020B0604020202020204"/>
              </a:rPr>
              <a:t>es </a:t>
            </a: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étapes suivantes sont </a:t>
            </a:r>
            <a:r>
              <a:rPr lang="fr-FR" sz="2000" b="1" dirty="0" smtClean="0">
                <a:solidFill>
                  <a:srgbClr val="17375E"/>
                </a:solidFill>
                <a:latin typeface="Gill Sans" panose="020B0604020202020204"/>
              </a:rPr>
              <a:t>prévues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/>
              </a:rPr>
              <a:t>1. Position de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'employé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/>
              </a:rPr>
              <a:t>2.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 </a:t>
            </a:r>
            <a:r>
              <a:rPr lang="fr-FR" sz="2000" dirty="0">
                <a:solidFill>
                  <a:srgbClr val="17375E"/>
                </a:solidFill>
                <a:latin typeface="Gill Sans" panose="020B0604020202020204"/>
              </a:rPr>
              <a:t>quadrant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actuel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/>
              </a:rPr>
              <a:t>3. Mesures à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prendre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8316CC91-463C-4924-BC10-6E2A8FAA22C9}" type="slidenum">
              <a:rPr lang="fr-FR" sz="1200" smtClean="0">
                <a:latin typeface="Gill Sans" panose="020B0604020202020204"/>
              </a:rPr>
              <a:pPr algn="ctr"/>
              <a:t>12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18399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12707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TextBox 79"/>
          <p:cNvSpPr txBox="1"/>
          <p:nvPr/>
        </p:nvSpPr>
        <p:spPr>
          <a:xfrm>
            <a:off x="304798" y="1162346"/>
            <a:ext cx="3814917" cy="1107996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0"/>
              </a:spcBef>
            </a:pPr>
            <a:r>
              <a:rPr lang="en-US" dirty="0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Dans la nature, les êtres humains perçoivent le monde différemment, chacun </a:t>
            </a:r>
            <a:r>
              <a:rPr lang="en-US" dirty="0" err="1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d'entre</a:t>
            </a:r>
            <a:r>
              <a:rPr lang="en-US" dirty="0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US" dirty="0" smtClean="0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nous à </a:t>
            </a:r>
            <a:r>
              <a:rPr lang="en-US" dirty="0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une façon unique </a:t>
            </a:r>
            <a:r>
              <a:rPr lang="en-US" dirty="0" smtClean="0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de </a:t>
            </a:r>
            <a:r>
              <a:rPr lang="en-US" dirty="0" err="1" smtClean="0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penser</a:t>
            </a:r>
            <a:endParaRPr lang="ru-RU" dirty="0">
              <a:solidFill>
                <a:srgbClr val="17375E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877470" y="1537182"/>
            <a:ext cx="2961729" cy="1060266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dirty="0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Lorsque vous approchez la réalité, votre attention se porte sur les différences ou les similitudes.</a:t>
            </a:r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3509727" y="3272986"/>
            <a:ext cx="1038443" cy="1097765"/>
          </a:xfrm>
          <a:custGeom>
            <a:avLst/>
            <a:gdLst>
              <a:gd name="T0" fmla="*/ 7338 w 9013"/>
              <a:gd name="T1" fmla="*/ 9111 h 9529"/>
              <a:gd name="T2" fmla="*/ 6034 w 9013"/>
              <a:gd name="T3" fmla="*/ 8357 h 9529"/>
              <a:gd name="T4" fmla="*/ 4892 w 9013"/>
              <a:gd name="T5" fmla="*/ 7413 h 9529"/>
              <a:gd name="T6" fmla="*/ 3919 w 9013"/>
              <a:gd name="T7" fmla="*/ 6347 h 9529"/>
              <a:gd name="T8" fmla="*/ 3121 w 9013"/>
              <a:gd name="T9" fmla="*/ 5231 h 9529"/>
              <a:gd name="T10" fmla="*/ 2506 w 9013"/>
              <a:gd name="T11" fmla="*/ 4133 h 9529"/>
              <a:gd name="T12" fmla="*/ 2079 w 9013"/>
              <a:gd name="T13" fmla="*/ 3125 h 9529"/>
              <a:gd name="T14" fmla="*/ 1847 w 9013"/>
              <a:gd name="T15" fmla="*/ 2276 h 9529"/>
              <a:gd name="T16" fmla="*/ 2290 w 9013"/>
              <a:gd name="T17" fmla="*/ 2833 h 9529"/>
              <a:gd name="T18" fmla="*/ 2998 w 9013"/>
              <a:gd name="T19" fmla="*/ 3730 h 9529"/>
              <a:gd name="T20" fmla="*/ 3783 w 9013"/>
              <a:gd name="T21" fmla="*/ 4534 h 9529"/>
              <a:gd name="T22" fmla="*/ 4630 w 9013"/>
              <a:gd name="T23" fmla="*/ 5253 h 9529"/>
              <a:gd name="T24" fmla="*/ 5518 w 9013"/>
              <a:gd name="T25" fmla="*/ 5887 h 9529"/>
              <a:gd name="T26" fmla="*/ 6430 w 9013"/>
              <a:gd name="T27" fmla="*/ 6444 h 9529"/>
              <a:gd name="T28" fmla="*/ 7349 w 9013"/>
              <a:gd name="T29" fmla="*/ 6926 h 9529"/>
              <a:gd name="T30" fmla="*/ 8256 w 9013"/>
              <a:gd name="T31" fmla="*/ 7338 h 9529"/>
              <a:gd name="T32" fmla="*/ 8542 w 9013"/>
              <a:gd name="T33" fmla="*/ 7025 h 9529"/>
              <a:gd name="T34" fmla="*/ 8654 w 9013"/>
              <a:gd name="T35" fmla="*/ 6493 h 9529"/>
              <a:gd name="T36" fmla="*/ 8796 w 9013"/>
              <a:gd name="T37" fmla="*/ 5968 h 9529"/>
              <a:gd name="T38" fmla="*/ 8965 w 9013"/>
              <a:gd name="T39" fmla="*/ 5453 h 9529"/>
              <a:gd name="T40" fmla="*/ 8894 w 9013"/>
              <a:gd name="T41" fmla="*/ 5030 h 9529"/>
              <a:gd name="T42" fmla="*/ 8717 w 9013"/>
              <a:gd name="T43" fmla="*/ 4641 h 9529"/>
              <a:gd name="T44" fmla="*/ 8518 w 9013"/>
              <a:gd name="T45" fmla="*/ 4261 h 9529"/>
              <a:gd name="T46" fmla="*/ 8299 w 9013"/>
              <a:gd name="T47" fmla="*/ 3889 h 9529"/>
              <a:gd name="T48" fmla="*/ 8058 w 9013"/>
              <a:gd name="T49" fmla="*/ 3526 h 9529"/>
              <a:gd name="T50" fmla="*/ 7796 w 9013"/>
              <a:gd name="T51" fmla="*/ 3174 h 9529"/>
              <a:gd name="T52" fmla="*/ 7512 w 9013"/>
              <a:gd name="T53" fmla="*/ 2833 h 9529"/>
              <a:gd name="T54" fmla="*/ 7208 w 9013"/>
              <a:gd name="T55" fmla="*/ 2503 h 9529"/>
              <a:gd name="T56" fmla="*/ 6571 w 9013"/>
              <a:gd name="T57" fmla="*/ 1914 h 9529"/>
              <a:gd name="T58" fmla="*/ 5775 w 9013"/>
              <a:gd name="T59" fmla="*/ 1329 h 9529"/>
              <a:gd name="T60" fmla="*/ 4931 w 9013"/>
              <a:gd name="T61" fmla="*/ 851 h 9529"/>
              <a:gd name="T62" fmla="*/ 4048 w 9013"/>
              <a:gd name="T63" fmla="*/ 478 h 9529"/>
              <a:gd name="T64" fmla="*/ 3135 w 9013"/>
              <a:gd name="T65" fmla="*/ 212 h 9529"/>
              <a:gd name="T66" fmla="*/ 2202 w 9013"/>
              <a:gd name="T67" fmla="*/ 53 h 9529"/>
              <a:gd name="T68" fmla="*/ 1260 w 9013"/>
              <a:gd name="T69" fmla="*/ 0 h 9529"/>
              <a:gd name="T70" fmla="*/ 317 w 9013"/>
              <a:gd name="T71" fmla="*/ 53 h 9529"/>
              <a:gd name="T72" fmla="*/ 14 w 9013"/>
              <a:gd name="T73" fmla="*/ 786 h 9529"/>
              <a:gd name="T74" fmla="*/ 14 w 9013"/>
              <a:gd name="T75" fmla="*/ 1727 h 9529"/>
              <a:gd name="T76" fmla="*/ 121 w 9013"/>
              <a:gd name="T77" fmla="*/ 2663 h 9529"/>
              <a:gd name="T78" fmla="*/ 333 w 9013"/>
              <a:gd name="T79" fmla="*/ 3584 h 9529"/>
              <a:gd name="T80" fmla="*/ 653 w 9013"/>
              <a:gd name="T81" fmla="*/ 4480 h 9529"/>
              <a:gd name="T82" fmla="*/ 1080 w 9013"/>
              <a:gd name="T83" fmla="*/ 5343 h 9529"/>
              <a:gd name="T84" fmla="*/ 1614 w 9013"/>
              <a:gd name="T85" fmla="*/ 6162 h 9529"/>
              <a:gd name="T86" fmla="*/ 2253 w 9013"/>
              <a:gd name="T87" fmla="*/ 6926 h 9529"/>
              <a:gd name="T88" fmla="*/ 2908 w 9013"/>
              <a:gd name="T89" fmla="*/ 7549 h 9529"/>
              <a:gd name="T90" fmla="*/ 3583 w 9013"/>
              <a:gd name="T91" fmla="*/ 8068 h 9529"/>
              <a:gd name="T92" fmla="*/ 4296 w 9013"/>
              <a:gd name="T93" fmla="*/ 8507 h 9529"/>
              <a:gd name="T94" fmla="*/ 5042 w 9013"/>
              <a:gd name="T95" fmla="*/ 8869 h 9529"/>
              <a:gd name="T96" fmla="*/ 5813 w 9013"/>
              <a:gd name="T97" fmla="*/ 9152 h 9529"/>
              <a:gd name="T98" fmla="*/ 6603 w 9013"/>
              <a:gd name="T99" fmla="*/ 9356 h 9529"/>
              <a:gd name="T100" fmla="*/ 7406 w 9013"/>
              <a:gd name="T101" fmla="*/ 9481 h 9529"/>
              <a:gd name="T102" fmla="*/ 8215 w 9013"/>
              <a:gd name="T103" fmla="*/ 9529 h 9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013" h="9529">
                <a:moveTo>
                  <a:pt x="8417" y="9508"/>
                </a:moveTo>
                <a:lnTo>
                  <a:pt x="8048" y="9393"/>
                </a:lnTo>
                <a:lnTo>
                  <a:pt x="7688" y="9260"/>
                </a:lnTo>
                <a:lnTo>
                  <a:pt x="7338" y="9111"/>
                </a:lnTo>
                <a:lnTo>
                  <a:pt x="6997" y="8944"/>
                </a:lnTo>
                <a:lnTo>
                  <a:pt x="6667" y="8762"/>
                </a:lnTo>
                <a:lnTo>
                  <a:pt x="6346" y="8566"/>
                </a:lnTo>
                <a:lnTo>
                  <a:pt x="6034" y="8357"/>
                </a:lnTo>
                <a:lnTo>
                  <a:pt x="5733" y="8135"/>
                </a:lnTo>
                <a:lnTo>
                  <a:pt x="5443" y="7904"/>
                </a:lnTo>
                <a:lnTo>
                  <a:pt x="5162" y="7663"/>
                </a:lnTo>
                <a:lnTo>
                  <a:pt x="4892" y="7413"/>
                </a:lnTo>
                <a:lnTo>
                  <a:pt x="4633" y="7154"/>
                </a:lnTo>
                <a:lnTo>
                  <a:pt x="4384" y="6891"/>
                </a:lnTo>
                <a:lnTo>
                  <a:pt x="4146" y="6621"/>
                </a:lnTo>
                <a:lnTo>
                  <a:pt x="3919" y="6347"/>
                </a:lnTo>
                <a:lnTo>
                  <a:pt x="3702" y="6070"/>
                </a:lnTo>
                <a:lnTo>
                  <a:pt x="3498" y="5790"/>
                </a:lnTo>
                <a:lnTo>
                  <a:pt x="3304" y="5511"/>
                </a:lnTo>
                <a:lnTo>
                  <a:pt x="3121" y="5231"/>
                </a:lnTo>
                <a:lnTo>
                  <a:pt x="2950" y="4951"/>
                </a:lnTo>
                <a:lnTo>
                  <a:pt x="2790" y="4675"/>
                </a:lnTo>
                <a:lnTo>
                  <a:pt x="2642" y="4402"/>
                </a:lnTo>
                <a:lnTo>
                  <a:pt x="2506" y="4133"/>
                </a:lnTo>
                <a:lnTo>
                  <a:pt x="2381" y="3870"/>
                </a:lnTo>
                <a:lnTo>
                  <a:pt x="2268" y="3613"/>
                </a:lnTo>
                <a:lnTo>
                  <a:pt x="2167" y="3365"/>
                </a:lnTo>
                <a:lnTo>
                  <a:pt x="2079" y="3125"/>
                </a:lnTo>
                <a:lnTo>
                  <a:pt x="2002" y="2896"/>
                </a:lnTo>
                <a:lnTo>
                  <a:pt x="1938" y="2676"/>
                </a:lnTo>
                <a:lnTo>
                  <a:pt x="1887" y="2470"/>
                </a:lnTo>
                <a:lnTo>
                  <a:pt x="1847" y="2276"/>
                </a:lnTo>
                <a:lnTo>
                  <a:pt x="1822" y="2097"/>
                </a:lnTo>
                <a:lnTo>
                  <a:pt x="1972" y="2349"/>
                </a:lnTo>
                <a:lnTo>
                  <a:pt x="2128" y="2594"/>
                </a:lnTo>
                <a:lnTo>
                  <a:pt x="2290" y="2833"/>
                </a:lnTo>
                <a:lnTo>
                  <a:pt x="2459" y="3066"/>
                </a:lnTo>
                <a:lnTo>
                  <a:pt x="2633" y="3293"/>
                </a:lnTo>
                <a:lnTo>
                  <a:pt x="2813" y="3514"/>
                </a:lnTo>
                <a:lnTo>
                  <a:pt x="2998" y="3730"/>
                </a:lnTo>
                <a:lnTo>
                  <a:pt x="3187" y="3939"/>
                </a:lnTo>
                <a:lnTo>
                  <a:pt x="3381" y="4143"/>
                </a:lnTo>
                <a:lnTo>
                  <a:pt x="3581" y="4342"/>
                </a:lnTo>
                <a:lnTo>
                  <a:pt x="3783" y="4534"/>
                </a:lnTo>
                <a:lnTo>
                  <a:pt x="3990" y="4722"/>
                </a:lnTo>
                <a:lnTo>
                  <a:pt x="4200" y="4905"/>
                </a:lnTo>
                <a:lnTo>
                  <a:pt x="4413" y="5081"/>
                </a:lnTo>
                <a:lnTo>
                  <a:pt x="4630" y="5253"/>
                </a:lnTo>
                <a:lnTo>
                  <a:pt x="4849" y="5419"/>
                </a:lnTo>
                <a:lnTo>
                  <a:pt x="5070" y="5581"/>
                </a:lnTo>
                <a:lnTo>
                  <a:pt x="5293" y="5736"/>
                </a:lnTo>
                <a:lnTo>
                  <a:pt x="5518" y="5887"/>
                </a:lnTo>
                <a:lnTo>
                  <a:pt x="5744" y="6033"/>
                </a:lnTo>
                <a:lnTo>
                  <a:pt x="5973" y="6175"/>
                </a:lnTo>
                <a:lnTo>
                  <a:pt x="6200" y="6312"/>
                </a:lnTo>
                <a:lnTo>
                  <a:pt x="6430" y="6444"/>
                </a:lnTo>
                <a:lnTo>
                  <a:pt x="6660" y="6572"/>
                </a:lnTo>
                <a:lnTo>
                  <a:pt x="6890" y="6694"/>
                </a:lnTo>
                <a:lnTo>
                  <a:pt x="7119" y="6812"/>
                </a:lnTo>
                <a:lnTo>
                  <a:pt x="7349" y="6926"/>
                </a:lnTo>
                <a:lnTo>
                  <a:pt x="7577" y="7035"/>
                </a:lnTo>
                <a:lnTo>
                  <a:pt x="7804" y="7141"/>
                </a:lnTo>
                <a:lnTo>
                  <a:pt x="8031" y="7241"/>
                </a:lnTo>
                <a:lnTo>
                  <a:pt x="8256" y="7338"/>
                </a:lnTo>
                <a:lnTo>
                  <a:pt x="8478" y="7430"/>
                </a:lnTo>
                <a:lnTo>
                  <a:pt x="8497" y="7295"/>
                </a:lnTo>
                <a:lnTo>
                  <a:pt x="8519" y="7160"/>
                </a:lnTo>
                <a:lnTo>
                  <a:pt x="8542" y="7025"/>
                </a:lnTo>
                <a:lnTo>
                  <a:pt x="8567" y="6892"/>
                </a:lnTo>
                <a:lnTo>
                  <a:pt x="8594" y="6758"/>
                </a:lnTo>
                <a:lnTo>
                  <a:pt x="8624" y="6626"/>
                </a:lnTo>
                <a:lnTo>
                  <a:pt x="8654" y="6493"/>
                </a:lnTo>
                <a:lnTo>
                  <a:pt x="8686" y="6361"/>
                </a:lnTo>
                <a:lnTo>
                  <a:pt x="8721" y="6229"/>
                </a:lnTo>
                <a:lnTo>
                  <a:pt x="8758" y="6098"/>
                </a:lnTo>
                <a:lnTo>
                  <a:pt x="8796" y="5968"/>
                </a:lnTo>
                <a:lnTo>
                  <a:pt x="8835" y="5838"/>
                </a:lnTo>
                <a:lnTo>
                  <a:pt x="8877" y="5709"/>
                </a:lnTo>
                <a:lnTo>
                  <a:pt x="8921" y="5581"/>
                </a:lnTo>
                <a:lnTo>
                  <a:pt x="8965" y="5453"/>
                </a:lnTo>
                <a:lnTo>
                  <a:pt x="9013" y="5325"/>
                </a:lnTo>
                <a:lnTo>
                  <a:pt x="8975" y="5226"/>
                </a:lnTo>
                <a:lnTo>
                  <a:pt x="8935" y="5128"/>
                </a:lnTo>
                <a:lnTo>
                  <a:pt x="8894" y="5030"/>
                </a:lnTo>
                <a:lnTo>
                  <a:pt x="8851" y="4932"/>
                </a:lnTo>
                <a:lnTo>
                  <a:pt x="8808" y="4835"/>
                </a:lnTo>
                <a:lnTo>
                  <a:pt x="8763" y="4738"/>
                </a:lnTo>
                <a:lnTo>
                  <a:pt x="8717" y="4641"/>
                </a:lnTo>
                <a:lnTo>
                  <a:pt x="8669" y="4545"/>
                </a:lnTo>
                <a:lnTo>
                  <a:pt x="8620" y="4450"/>
                </a:lnTo>
                <a:lnTo>
                  <a:pt x="8569" y="4355"/>
                </a:lnTo>
                <a:lnTo>
                  <a:pt x="8518" y="4261"/>
                </a:lnTo>
                <a:lnTo>
                  <a:pt x="8465" y="4166"/>
                </a:lnTo>
                <a:lnTo>
                  <a:pt x="8411" y="4073"/>
                </a:lnTo>
                <a:lnTo>
                  <a:pt x="8355" y="3981"/>
                </a:lnTo>
                <a:lnTo>
                  <a:pt x="8299" y="3889"/>
                </a:lnTo>
                <a:lnTo>
                  <a:pt x="8240" y="3797"/>
                </a:lnTo>
                <a:lnTo>
                  <a:pt x="8181" y="3706"/>
                </a:lnTo>
                <a:lnTo>
                  <a:pt x="8119" y="3616"/>
                </a:lnTo>
                <a:lnTo>
                  <a:pt x="8058" y="3526"/>
                </a:lnTo>
                <a:lnTo>
                  <a:pt x="7994" y="3437"/>
                </a:lnTo>
                <a:lnTo>
                  <a:pt x="7929" y="3348"/>
                </a:lnTo>
                <a:lnTo>
                  <a:pt x="7863" y="3261"/>
                </a:lnTo>
                <a:lnTo>
                  <a:pt x="7796" y="3174"/>
                </a:lnTo>
                <a:lnTo>
                  <a:pt x="7727" y="3087"/>
                </a:lnTo>
                <a:lnTo>
                  <a:pt x="7657" y="3002"/>
                </a:lnTo>
                <a:lnTo>
                  <a:pt x="7585" y="2917"/>
                </a:lnTo>
                <a:lnTo>
                  <a:pt x="7512" y="2833"/>
                </a:lnTo>
                <a:lnTo>
                  <a:pt x="7438" y="2750"/>
                </a:lnTo>
                <a:lnTo>
                  <a:pt x="7363" y="2666"/>
                </a:lnTo>
                <a:lnTo>
                  <a:pt x="7285" y="2585"/>
                </a:lnTo>
                <a:lnTo>
                  <a:pt x="7208" y="2503"/>
                </a:lnTo>
                <a:lnTo>
                  <a:pt x="7128" y="2423"/>
                </a:lnTo>
                <a:lnTo>
                  <a:pt x="6946" y="2247"/>
                </a:lnTo>
                <a:lnTo>
                  <a:pt x="6760" y="2078"/>
                </a:lnTo>
                <a:lnTo>
                  <a:pt x="6571" y="1914"/>
                </a:lnTo>
                <a:lnTo>
                  <a:pt x="6376" y="1759"/>
                </a:lnTo>
                <a:lnTo>
                  <a:pt x="6180" y="1609"/>
                </a:lnTo>
                <a:lnTo>
                  <a:pt x="5979" y="1466"/>
                </a:lnTo>
                <a:lnTo>
                  <a:pt x="5775" y="1329"/>
                </a:lnTo>
                <a:lnTo>
                  <a:pt x="5568" y="1199"/>
                </a:lnTo>
                <a:lnTo>
                  <a:pt x="5359" y="1077"/>
                </a:lnTo>
                <a:lnTo>
                  <a:pt x="5146" y="960"/>
                </a:lnTo>
                <a:lnTo>
                  <a:pt x="4931" y="851"/>
                </a:lnTo>
                <a:lnTo>
                  <a:pt x="4713" y="748"/>
                </a:lnTo>
                <a:lnTo>
                  <a:pt x="4493" y="651"/>
                </a:lnTo>
                <a:lnTo>
                  <a:pt x="4272" y="562"/>
                </a:lnTo>
                <a:lnTo>
                  <a:pt x="4048" y="478"/>
                </a:lnTo>
                <a:lnTo>
                  <a:pt x="3822" y="402"/>
                </a:lnTo>
                <a:lnTo>
                  <a:pt x="3594" y="332"/>
                </a:lnTo>
                <a:lnTo>
                  <a:pt x="3365" y="268"/>
                </a:lnTo>
                <a:lnTo>
                  <a:pt x="3135" y="212"/>
                </a:lnTo>
                <a:lnTo>
                  <a:pt x="2903" y="163"/>
                </a:lnTo>
                <a:lnTo>
                  <a:pt x="2670" y="120"/>
                </a:lnTo>
                <a:lnTo>
                  <a:pt x="2437" y="83"/>
                </a:lnTo>
                <a:lnTo>
                  <a:pt x="2202" y="53"/>
                </a:lnTo>
                <a:lnTo>
                  <a:pt x="1967" y="29"/>
                </a:lnTo>
                <a:lnTo>
                  <a:pt x="1732" y="13"/>
                </a:lnTo>
                <a:lnTo>
                  <a:pt x="1496" y="4"/>
                </a:lnTo>
                <a:lnTo>
                  <a:pt x="1260" y="0"/>
                </a:lnTo>
                <a:lnTo>
                  <a:pt x="1025" y="4"/>
                </a:lnTo>
                <a:lnTo>
                  <a:pt x="788" y="13"/>
                </a:lnTo>
                <a:lnTo>
                  <a:pt x="552" y="29"/>
                </a:lnTo>
                <a:lnTo>
                  <a:pt x="317" y="53"/>
                </a:lnTo>
                <a:lnTo>
                  <a:pt x="84" y="83"/>
                </a:lnTo>
                <a:lnTo>
                  <a:pt x="53" y="316"/>
                </a:lnTo>
                <a:lnTo>
                  <a:pt x="30" y="551"/>
                </a:lnTo>
                <a:lnTo>
                  <a:pt x="14" y="786"/>
                </a:lnTo>
                <a:lnTo>
                  <a:pt x="4" y="1020"/>
                </a:lnTo>
                <a:lnTo>
                  <a:pt x="0" y="1256"/>
                </a:lnTo>
                <a:lnTo>
                  <a:pt x="4" y="1491"/>
                </a:lnTo>
                <a:lnTo>
                  <a:pt x="14" y="1727"/>
                </a:lnTo>
                <a:lnTo>
                  <a:pt x="30" y="1961"/>
                </a:lnTo>
                <a:lnTo>
                  <a:pt x="53" y="2195"/>
                </a:lnTo>
                <a:lnTo>
                  <a:pt x="84" y="2430"/>
                </a:lnTo>
                <a:lnTo>
                  <a:pt x="121" y="2663"/>
                </a:lnTo>
                <a:lnTo>
                  <a:pt x="164" y="2894"/>
                </a:lnTo>
                <a:lnTo>
                  <a:pt x="213" y="3126"/>
                </a:lnTo>
                <a:lnTo>
                  <a:pt x="271" y="3356"/>
                </a:lnTo>
                <a:lnTo>
                  <a:pt x="333" y="3584"/>
                </a:lnTo>
                <a:lnTo>
                  <a:pt x="403" y="3811"/>
                </a:lnTo>
                <a:lnTo>
                  <a:pt x="480" y="4036"/>
                </a:lnTo>
                <a:lnTo>
                  <a:pt x="563" y="4260"/>
                </a:lnTo>
                <a:lnTo>
                  <a:pt x="653" y="4480"/>
                </a:lnTo>
                <a:lnTo>
                  <a:pt x="750" y="4700"/>
                </a:lnTo>
                <a:lnTo>
                  <a:pt x="854" y="4917"/>
                </a:lnTo>
                <a:lnTo>
                  <a:pt x="963" y="5132"/>
                </a:lnTo>
                <a:lnTo>
                  <a:pt x="1080" y="5343"/>
                </a:lnTo>
                <a:lnTo>
                  <a:pt x="1204" y="5552"/>
                </a:lnTo>
                <a:lnTo>
                  <a:pt x="1333" y="5758"/>
                </a:lnTo>
                <a:lnTo>
                  <a:pt x="1470" y="5962"/>
                </a:lnTo>
                <a:lnTo>
                  <a:pt x="1614" y="6162"/>
                </a:lnTo>
                <a:lnTo>
                  <a:pt x="1764" y="6358"/>
                </a:lnTo>
                <a:lnTo>
                  <a:pt x="1920" y="6551"/>
                </a:lnTo>
                <a:lnTo>
                  <a:pt x="2084" y="6741"/>
                </a:lnTo>
                <a:lnTo>
                  <a:pt x="2253" y="6926"/>
                </a:lnTo>
                <a:lnTo>
                  <a:pt x="2430" y="7108"/>
                </a:lnTo>
                <a:lnTo>
                  <a:pt x="2587" y="7260"/>
                </a:lnTo>
                <a:lnTo>
                  <a:pt x="2747" y="7407"/>
                </a:lnTo>
                <a:lnTo>
                  <a:pt x="2908" y="7549"/>
                </a:lnTo>
                <a:lnTo>
                  <a:pt x="3074" y="7685"/>
                </a:lnTo>
                <a:lnTo>
                  <a:pt x="3241" y="7818"/>
                </a:lnTo>
                <a:lnTo>
                  <a:pt x="3411" y="7945"/>
                </a:lnTo>
                <a:lnTo>
                  <a:pt x="3583" y="8068"/>
                </a:lnTo>
                <a:lnTo>
                  <a:pt x="3759" y="8185"/>
                </a:lnTo>
                <a:lnTo>
                  <a:pt x="3936" y="8297"/>
                </a:lnTo>
                <a:lnTo>
                  <a:pt x="4116" y="8405"/>
                </a:lnTo>
                <a:lnTo>
                  <a:pt x="4296" y="8507"/>
                </a:lnTo>
                <a:lnTo>
                  <a:pt x="4481" y="8605"/>
                </a:lnTo>
                <a:lnTo>
                  <a:pt x="4665" y="8698"/>
                </a:lnTo>
                <a:lnTo>
                  <a:pt x="4852" y="8786"/>
                </a:lnTo>
                <a:lnTo>
                  <a:pt x="5042" y="8869"/>
                </a:lnTo>
                <a:lnTo>
                  <a:pt x="5232" y="8947"/>
                </a:lnTo>
                <a:lnTo>
                  <a:pt x="5424" y="9020"/>
                </a:lnTo>
                <a:lnTo>
                  <a:pt x="5617" y="9088"/>
                </a:lnTo>
                <a:lnTo>
                  <a:pt x="5813" y="9152"/>
                </a:lnTo>
                <a:lnTo>
                  <a:pt x="6009" y="9210"/>
                </a:lnTo>
                <a:lnTo>
                  <a:pt x="6205" y="9264"/>
                </a:lnTo>
                <a:lnTo>
                  <a:pt x="6403" y="9312"/>
                </a:lnTo>
                <a:lnTo>
                  <a:pt x="6603" y="9356"/>
                </a:lnTo>
                <a:lnTo>
                  <a:pt x="6802" y="9395"/>
                </a:lnTo>
                <a:lnTo>
                  <a:pt x="7002" y="9428"/>
                </a:lnTo>
                <a:lnTo>
                  <a:pt x="7204" y="9458"/>
                </a:lnTo>
                <a:lnTo>
                  <a:pt x="7406" y="9481"/>
                </a:lnTo>
                <a:lnTo>
                  <a:pt x="7608" y="9501"/>
                </a:lnTo>
                <a:lnTo>
                  <a:pt x="7811" y="9515"/>
                </a:lnTo>
                <a:lnTo>
                  <a:pt x="8013" y="9524"/>
                </a:lnTo>
                <a:lnTo>
                  <a:pt x="8215" y="9529"/>
                </a:lnTo>
                <a:lnTo>
                  <a:pt x="8418" y="9529"/>
                </a:lnTo>
                <a:lnTo>
                  <a:pt x="8417" y="950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3536221" y="2136633"/>
            <a:ext cx="1101222" cy="1035562"/>
          </a:xfrm>
          <a:custGeom>
            <a:avLst/>
            <a:gdLst>
              <a:gd name="T0" fmla="*/ 421 w 9556"/>
              <a:gd name="T1" fmla="*/ 7316 h 8989"/>
              <a:gd name="T2" fmla="*/ 1176 w 9556"/>
              <a:gd name="T3" fmla="*/ 6017 h 8989"/>
              <a:gd name="T4" fmla="*/ 2123 w 9556"/>
              <a:gd name="T5" fmla="*/ 4878 h 8989"/>
              <a:gd name="T6" fmla="*/ 3191 w 9556"/>
              <a:gd name="T7" fmla="*/ 3908 h 8989"/>
              <a:gd name="T8" fmla="*/ 4312 w 9556"/>
              <a:gd name="T9" fmla="*/ 3112 h 8989"/>
              <a:gd name="T10" fmla="*/ 5411 w 9556"/>
              <a:gd name="T11" fmla="*/ 2498 h 8989"/>
              <a:gd name="T12" fmla="*/ 6422 w 9556"/>
              <a:gd name="T13" fmla="*/ 2073 h 8989"/>
              <a:gd name="T14" fmla="*/ 7273 w 9556"/>
              <a:gd name="T15" fmla="*/ 1842 h 8989"/>
              <a:gd name="T16" fmla="*/ 6715 w 9556"/>
              <a:gd name="T17" fmla="*/ 2284 h 8989"/>
              <a:gd name="T18" fmla="*/ 5815 w 9556"/>
              <a:gd name="T19" fmla="*/ 2990 h 8989"/>
              <a:gd name="T20" fmla="*/ 5008 w 9556"/>
              <a:gd name="T21" fmla="*/ 3774 h 8989"/>
              <a:gd name="T22" fmla="*/ 4287 w 9556"/>
              <a:gd name="T23" fmla="*/ 4619 h 8989"/>
              <a:gd name="T24" fmla="*/ 3651 w 9556"/>
              <a:gd name="T25" fmla="*/ 5505 h 8989"/>
              <a:gd name="T26" fmla="*/ 3093 w 9556"/>
              <a:gd name="T27" fmla="*/ 6416 h 8989"/>
              <a:gd name="T28" fmla="*/ 2609 w 9556"/>
              <a:gd name="T29" fmla="*/ 7332 h 8989"/>
              <a:gd name="T30" fmla="*/ 2196 w 9556"/>
              <a:gd name="T31" fmla="*/ 8236 h 8989"/>
              <a:gd name="T32" fmla="*/ 2510 w 9556"/>
              <a:gd name="T33" fmla="*/ 8522 h 8989"/>
              <a:gd name="T34" fmla="*/ 3043 w 9556"/>
              <a:gd name="T35" fmla="*/ 8634 h 8989"/>
              <a:gd name="T36" fmla="*/ 3569 w 9556"/>
              <a:gd name="T37" fmla="*/ 8773 h 8989"/>
              <a:gd name="T38" fmla="*/ 4084 w 9556"/>
              <a:gd name="T39" fmla="*/ 8943 h 8989"/>
              <a:gd name="T40" fmla="*/ 4508 w 9556"/>
              <a:gd name="T41" fmla="*/ 8870 h 8989"/>
              <a:gd name="T42" fmla="*/ 4898 w 9556"/>
              <a:gd name="T43" fmla="*/ 8694 h 8989"/>
              <a:gd name="T44" fmla="*/ 5281 w 9556"/>
              <a:gd name="T45" fmla="*/ 8495 h 8989"/>
              <a:gd name="T46" fmla="*/ 5655 w 9556"/>
              <a:gd name="T47" fmla="*/ 8277 h 8989"/>
              <a:gd name="T48" fmla="*/ 6019 w 9556"/>
              <a:gd name="T49" fmla="*/ 8036 h 8989"/>
              <a:gd name="T50" fmla="*/ 6372 w 9556"/>
              <a:gd name="T51" fmla="*/ 7774 h 8989"/>
              <a:gd name="T52" fmla="*/ 6715 w 9556"/>
              <a:gd name="T53" fmla="*/ 7492 h 8989"/>
              <a:gd name="T54" fmla="*/ 7045 w 9556"/>
              <a:gd name="T55" fmla="*/ 7188 h 8989"/>
              <a:gd name="T56" fmla="*/ 7636 w 9556"/>
              <a:gd name="T57" fmla="*/ 6552 h 8989"/>
              <a:gd name="T58" fmla="*/ 8223 w 9556"/>
              <a:gd name="T59" fmla="*/ 5759 h 8989"/>
              <a:gd name="T60" fmla="*/ 8703 w 9556"/>
              <a:gd name="T61" fmla="*/ 4917 h 8989"/>
              <a:gd name="T62" fmla="*/ 9077 w 9556"/>
              <a:gd name="T63" fmla="*/ 4037 h 8989"/>
              <a:gd name="T64" fmla="*/ 9344 w 9556"/>
              <a:gd name="T65" fmla="*/ 3126 h 8989"/>
              <a:gd name="T66" fmla="*/ 9503 w 9556"/>
              <a:gd name="T67" fmla="*/ 2197 h 8989"/>
              <a:gd name="T68" fmla="*/ 9556 w 9556"/>
              <a:gd name="T69" fmla="*/ 1256 h 8989"/>
              <a:gd name="T70" fmla="*/ 9503 w 9556"/>
              <a:gd name="T71" fmla="*/ 316 h 8989"/>
              <a:gd name="T72" fmla="*/ 9255 w 9556"/>
              <a:gd name="T73" fmla="*/ 55 h 8989"/>
              <a:gd name="T74" fmla="*/ 8963 w 9556"/>
              <a:gd name="T75" fmla="*/ 27 h 8989"/>
              <a:gd name="T76" fmla="*/ 8671 w 9556"/>
              <a:gd name="T77" fmla="*/ 9 h 8989"/>
              <a:gd name="T78" fmla="*/ 8378 w 9556"/>
              <a:gd name="T79" fmla="*/ 0 h 8989"/>
              <a:gd name="T80" fmla="*/ 7891 w 9556"/>
              <a:gd name="T81" fmla="*/ 10 h 8989"/>
              <a:gd name="T82" fmla="*/ 7099 w 9556"/>
              <a:gd name="T83" fmla="*/ 86 h 8989"/>
              <a:gd name="T84" fmla="*/ 6315 w 9556"/>
              <a:gd name="T85" fmla="*/ 238 h 8989"/>
              <a:gd name="T86" fmla="*/ 5547 w 9556"/>
              <a:gd name="T87" fmla="*/ 466 h 8989"/>
              <a:gd name="T88" fmla="*/ 4799 w 9556"/>
              <a:gd name="T89" fmla="*/ 769 h 8989"/>
              <a:gd name="T90" fmla="*/ 4077 w 9556"/>
              <a:gd name="T91" fmla="*/ 1147 h 8989"/>
              <a:gd name="T92" fmla="*/ 3388 w 9556"/>
              <a:gd name="T93" fmla="*/ 1601 h 8989"/>
              <a:gd name="T94" fmla="*/ 2737 w 9556"/>
              <a:gd name="T95" fmla="*/ 2130 h 8989"/>
              <a:gd name="T96" fmla="*/ 2128 w 9556"/>
              <a:gd name="T97" fmla="*/ 2739 h 8989"/>
              <a:gd name="T98" fmla="*/ 1588 w 9556"/>
              <a:gd name="T99" fmla="*/ 3401 h 8989"/>
              <a:gd name="T100" fmla="*/ 1127 w 9556"/>
              <a:gd name="T101" fmla="*/ 4104 h 8989"/>
              <a:gd name="T102" fmla="*/ 746 w 9556"/>
              <a:gd name="T103" fmla="*/ 4840 h 8989"/>
              <a:gd name="T104" fmla="*/ 442 w 9556"/>
              <a:gd name="T105" fmla="*/ 5602 h 8989"/>
              <a:gd name="T106" fmla="*/ 218 w 9556"/>
              <a:gd name="T107" fmla="*/ 6385 h 8989"/>
              <a:gd name="T108" fmla="*/ 72 w 9556"/>
              <a:gd name="T109" fmla="*/ 7184 h 8989"/>
              <a:gd name="T110" fmla="*/ 5 w 9556"/>
              <a:gd name="T111" fmla="*/ 7991 h 89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556" h="8989">
                <a:moveTo>
                  <a:pt x="23" y="8393"/>
                </a:moveTo>
                <a:lnTo>
                  <a:pt x="137" y="8025"/>
                </a:lnTo>
                <a:lnTo>
                  <a:pt x="270" y="7666"/>
                </a:lnTo>
                <a:lnTo>
                  <a:pt x="421" y="7316"/>
                </a:lnTo>
                <a:lnTo>
                  <a:pt x="587" y="6977"/>
                </a:lnTo>
                <a:lnTo>
                  <a:pt x="770" y="6647"/>
                </a:lnTo>
                <a:lnTo>
                  <a:pt x="966" y="6326"/>
                </a:lnTo>
                <a:lnTo>
                  <a:pt x="1176" y="6017"/>
                </a:lnTo>
                <a:lnTo>
                  <a:pt x="1398" y="5717"/>
                </a:lnTo>
                <a:lnTo>
                  <a:pt x="1630" y="5427"/>
                </a:lnTo>
                <a:lnTo>
                  <a:pt x="1873" y="5148"/>
                </a:lnTo>
                <a:lnTo>
                  <a:pt x="2123" y="4878"/>
                </a:lnTo>
                <a:lnTo>
                  <a:pt x="2382" y="4619"/>
                </a:lnTo>
                <a:lnTo>
                  <a:pt x="2646" y="4371"/>
                </a:lnTo>
                <a:lnTo>
                  <a:pt x="2917" y="4135"/>
                </a:lnTo>
                <a:lnTo>
                  <a:pt x="3191" y="3908"/>
                </a:lnTo>
                <a:lnTo>
                  <a:pt x="3469" y="3692"/>
                </a:lnTo>
                <a:lnTo>
                  <a:pt x="3750" y="3488"/>
                </a:lnTo>
                <a:lnTo>
                  <a:pt x="4030" y="3294"/>
                </a:lnTo>
                <a:lnTo>
                  <a:pt x="4312" y="3112"/>
                </a:lnTo>
                <a:lnTo>
                  <a:pt x="4591" y="2941"/>
                </a:lnTo>
                <a:lnTo>
                  <a:pt x="4868" y="2782"/>
                </a:lnTo>
                <a:lnTo>
                  <a:pt x="5142" y="2635"/>
                </a:lnTo>
                <a:lnTo>
                  <a:pt x="5411" y="2498"/>
                </a:lnTo>
                <a:lnTo>
                  <a:pt x="5676" y="2375"/>
                </a:lnTo>
                <a:lnTo>
                  <a:pt x="5933" y="2262"/>
                </a:lnTo>
                <a:lnTo>
                  <a:pt x="6181" y="2161"/>
                </a:lnTo>
                <a:lnTo>
                  <a:pt x="6422" y="2073"/>
                </a:lnTo>
                <a:lnTo>
                  <a:pt x="6652" y="1997"/>
                </a:lnTo>
                <a:lnTo>
                  <a:pt x="6872" y="1933"/>
                </a:lnTo>
                <a:lnTo>
                  <a:pt x="7079" y="1882"/>
                </a:lnTo>
                <a:lnTo>
                  <a:pt x="7273" y="1842"/>
                </a:lnTo>
                <a:lnTo>
                  <a:pt x="7453" y="1817"/>
                </a:lnTo>
                <a:lnTo>
                  <a:pt x="7201" y="1966"/>
                </a:lnTo>
                <a:lnTo>
                  <a:pt x="6955" y="2122"/>
                </a:lnTo>
                <a:lnTo>
                  <a:pt x="6715" y="2284"/>
                </a:lnTo>
                <a:lnTo>
                  <a:pt x="6481" y="2452"/>
                </a:lnTo>
                <a:lnTo>
                  <a:pt x="6254" y="2626"/>
                </a:lnTo>
                <a:lnTo>
                  <a:pt x="6031" y="2805"/>
                </a:lnTo>
                <a:lnTo>
                  <a:pt x="5815" y="2990"/>
                </a:lnTo>
                <a:lnTo>
                  <a:pt x="5604" y="3179"/>
                </a:lnTo>
                <a:lnTo>
                  <a:pt x="5400" y="3373"/>
                </a:lnTo>
                <a:lnTo>
                  <a:pt x="5201" y="3572"/>
                </a:lnTo>
                <a:lnTo>
                  <a:pt x="5008" y="3774"/>
                </a:lnTo>
                <a:lnTo>
                  <a:pt x="4820" y="3980"/>
                </a:lnTo>
                <a:lnTo>
                  <a:pt x="4636" y="4190"/>
                </a:lnTo>
                <a:lnTo>
                  <a:pt x="4459" y="4403"/>
                </a:lnTo>
                <a:lnTo>
                  <a:pt x="4287" y="4619"/>
                </a:lnTo>
                <a:lnTo>
                  <a:pt x="4121" y="4837"/>
                </a:lnTo>
                <a:lnTo>
                  <a:pt x="3959" y="5057"/>
                </a:lnTo>
                <a:lnTo>
                  <a:pt x="3802" y="5280"/>
                </a:lnTo>
                <a:lnTo>
                  <a:pt x="3651" y="5505"/>
                </a:lnTo>
                <a:lnTo>
                  <a:pt x="3504" y="5732"/>
                </a:lnTo>
                <a:lnTo>
                  <a:pt x="3362" y="5959"/>
                </a:lnTo>
                <a:lnTo>
                  <a:pt x="3226" y="6187"/>
                </a:lnTo>
                <a:lnTo>
                  <a:pt x="3093" y="6416"/>
                </a:lnTo>
                <a:lnTo>
                  <a:pt x="2965" y="6644"/>
                </a:lnTo>
                <a:lnTo>
                  <a:pt x="2842" y="6874"/>
                </a:lnTo>
                <a:lnTo>
                  <a:pt x="2724" y="7103"/>
                </a:lnTo>
                <a:lnTo>
                  <a:pt x="2609" y="7332"/>
                </a:lnTo>
                <a:lnTo>
                  <a:pt x="2500" y="7559"/>
                </a:lnTo>
                <a:lnTo>
                  <a:pt x="2394" y="7786"/>
                </a:lnTo>
                <a:lnTo>
                  <a:pt x="2293" y="8012"/>
                </a:lnTo>
                <a:lnTo>
                  <a:pt x="2196" y="8236"/>
                </a:lnTo>
                <a:lnTo>
                  <a:pt x="2104" y="8458"/>
                </a:lnTo>
                <a:lnTo>
                  <a:pt x="2239" y="8478"/>
                </a:lnTo>
                <a:lnTo>
                  <a:pt x="2374" y="8499"/>
                </a:lnTo>
                <a:lnTo>
                  <a:pt x="2510" y="8522"/>
                </a:lnTo>
                <a:lnTo>
                  <a:pt x="2644" y="8548"/>
                </a:lnTo>
                <a:lnTo>
                  <a:pt x="2778" y="8574"/>
                </a:lnTo>
                <a:lnTo>
                  <a:pt x="2911" y="8603"/>
                </a:lnTo>
                <a:lnTo>
                  <a:pt x="3043" y="8634"/>
                </a:lnTo>
                <a:lnTo>
                  <a:pt x="3176" y="8666"/>
                </a:lnTo>
                <a:lnTo>
                  <a:pt x="3308" y="8700"/>
                </a:lnTo>
                <a:lnTo>
                  <a:pt x="3438" y="8735"/>
                </a:lnTo>
                <a:lnTo>
                  <a:pt x="3569" y="8773"/>
                </a:lnTo>
                <a:lnTo>
                  <a:pt x="3699" y="8814"/>
                </a:lnTo>
                <a:lnTo>
                  <a:pt x="3828" y="8854"/>
                </a:lnTo>
                <a:lnTo>
                  <a:pt x="3956" y="8897"/>
                </a:lnTo>
                <a:lnTo>
                  <a:pt x="4084" y="8943"/>
                </a:lnTo>
                <a:lnTo>
                  <a:pt x="4212" y="8989"/>
                </a:lnTo>
                <a:lnTo>
                  <a:pt x="4312" y="8951"/>
                </a:lnTo>
                <a:lnTo>
                  <a:pt x="4410" y="8912"/>
                </a:lnTo>
                <a:lnTo>
                  <a:pt x="4508" y="8870"/>
                </a:lnTo>
                <a:lnTo>
                  <a:pt x="4607" y="8829"/>
                </a:lnTo>
                <a:lnTo>
                  <a:pt x="4705" y="8784"/>
                </a:lnTo>
                <a:lnTo>
                  <a:pt x="4802" y="8740"/>
                </a:lnTo>
                <a:lnTo>
                  <a:pt x="4898" y="8694"/>
                </a:lnTo>
                <a:lnTo>
                  <a:pt x="4996" y="8646"/>
                </a:lnTo>
                <a:lnTo>
                  <a:pt x="5091" y="8597"/>
                </a:lnTo>
                <a:lnTo>
                  <a:pt x="5186" y="8547"/>
                </a:lnTo>
                <a:lnTo>
                  <a:pt x="5281" y="8495"/>
                </a:lnTo>
                <a:lnTo>
                  <a:pt x="5376" y="8442"/>
                </a:lnTo>
                <a:lnTo>
                  <a:pt x="5469" y="8388"/>
                </a:lnTo>
                <a:lnTo>
                  <a:pt x="5561" y="8333"/>
                </a:lnTo>
                <a:lnTo>
                  <a:pt x="5655" y="8277"/>
                </a:lnTo>
                <a:lnTo>
                  <a:pt x="5746" y="8218"/>
                </a:lnTo>
                <a:lnTo>
                  <a:pt x="5838" y="8159"/>
                </a:lnTo>
                <a:lnTo>
                  <a:pt x="5928" y="8098"/>
                </a:lnTo>
                <a:lnTo>
                  <a:pt x="6019" y="8036"/>
                </a:lnTo>
                <a:lnTo>
                  <a:pt x="6107" y="7973"/>
                </a:lnTo>
                <a:lnTo>
                  <a:pt x="6197" y="7908"/>
                </a:lnTo>
                <a:lnTo>
                  <a:pt x="6285" y="7841"/>
                </a:lnTo>
                <a:lnTo>
                  <a:pt x="6372" y="7774"/>
                </a:lnTo>
                <a:lnTo>
                  <a:pt x="6459" y="7705"/>
                </a:lnTo>
                <a:lnTo>
                  <a:pt x="6545" y="7635"/>
                </a:lnTo>
                <a:lnTo>
                  <a:pt x="6630" y="7564"/>
                </a:lnTo>
                <a:lnTo>
                  <a:pt x="6715" y="7492"/>
                </a:lnTo>
                <a:lnTo>
                  <a:pt x="6799" y="7418"/>
                </a:lnTo>
                <a:lnTo>
                  <a:pt x="6881" y="7342"/>
                </a:lnTo>
                <a:lnTo>
                  <a:pt x="6964" y="7266"/>
                </a:lnTo>
                <a:lnTo>
                  <a:pt x="7045" y="7188"/>
                </a:lnTo>
                <a:lnTo>
                  <a:pt x="7126" y="7108"/>
                </a:lnTo>
                <a:lnTo>
                  <a:pt x="7303" y="6926"/>
                </a:lnTo>
                <a:lnTo>
                  <a:pt x="7473" y="6741"/>
                </a:lnTo>
                <a:lnTo>
                  <a:pt x="7636" y="6552"/>
                </a:lnTo>
                <a:lnTo>
                  <a:pt x="7793" y="6358"/>
                </a:lnTo>
                <a:lnTo>
                  <a:pt x="7943" y="6162"/>
                </a:lnTo>
                <a:lnTo>
                  <a:pt x="8086" y="5962"/>
                </a:lnTo>
                <a:lnTo>
                  <a:pt x="8223" y="5759"/>
                </a:lnTo>
                <a:lnTo>
                  <a:pt x="8353" y="5553"/>
                </a:lnTo>
                <a:lnTo>
                  <a:pt x="8476" y="5344"/>
                </a:lnTo>
                <a:lnTo>
                  <a:pt x="8593" y="5132"/>
                </a:lnTo>
                <a:lnTo>
                  <a:pt x="8703" y="4917"/>
                </a:lnTo>
                <a:lnTo>
                  <a:pt x="8806" y="4700"/>
                </a:lnTo>
                <a:lnTo>
                  <a:pt x="8903" y="4481"/>
                </a:lnTo>
                <a:lnTo>
                  <a:pt x="8993" y="4260"/>
                </a:lnTo>
                <a:lnTo>
                  <a:pt x="9077" y="4037"/>
                </a:lnTo>
                <a:lnTo>
                  <a:pt x="9153" y="3811"/>
                </a:lnTo>
                <a:lnTo>
                  <a:pt x="9223" y="3584"/>
                </a:lnTo>
                <a:lnTo>
                  <a:pt x="9287" y="3356"/>
                </a:lnTo>
                <a:lnTo>
                  <a:pt x="9344" y="3126"/>
                </a:lnTo>
                <a:lnTo>
                  <a:pt x="9393" y="2895"/>
                </a:lnTo>
                <a:lnTo>
                  <a:pt x="9437" y="2663"/>
                </a:lnTo>
                <a:lnTo>
                  <a:pt x="9473" y="2430"/>
                </a:lnTo>
                <a:lnTo>
                  <a:pt x="9503" y="2197"/>
                </a:lnTo>
                <a:lnTo>
                  <a:pt x="9527" y="1961"/>
                </a:lnTo>
                <a:lnTo>
                  <a:pt x="9543" y="1727"/>
                </a:lnTo>
                <a:lnTo>
                  <a:pt x="9553" y="1491"/>
                </a:lnTo>
                <a:lnTo>
                  <a:pt x="9556" y="1256"/>
                </a:lnTo>
                <a:lnTo>
                  <a:pt x="9553" y="1022"/>
                </a:lnTo>
                <a:lnTo>
                  <a:pt x="9543" y="786"/>
                </a:lnTo>
                <a:lnTo>
                  <a:pt x="9527" y="551"/>
                </a:lnTo>
                <a:lnTo>
                  <a:pt x="9503" y="316"/>
                </a:lnTo>
                <a:lnTo>
                  <a:pt x="9474" y="83"/>
                </a:lnTo>
                <a:lnTo>
                  <a:pt x="9400" y="74"/>
                </a:lnTo>
                <a:lnTo>
                  <a:pt x="9328" y="64"/>
                </a:lnTo>
                <a:lnTo>
                  <a:pt x="9255" y="55"/>
                </a:lnTo>
                <a:lnTo>
                  <a:pt x="9182" y="47"/>
                </a:lnTo>
                <a:lnTo>
                  <a:pt x="9110" y="39"/>
                </a:lnTo>
                <a:lnTo>
                  <a:pt x="9036" y="33"/>
                </a:lnTo>
                <a:lnTo>
                  <a:pt x="8963" y="27"/>
                </a:lnTo>
                <a:lnTo>
                  <a:pt x="8891" y="21"/>
                </a:lnTo>
                <a:lnTo>
                  <a:pt x="8817" y="16"/>
                </a:lnTo>
                <a:lnTo>
                  <a:pt x="8745" y="12"/>
                </a:lnTo>
                <a:lnTo>
                  <a:pt x="8671" y="9"/>
                </a:lnTo>
                <a:lnTo>
                  <a:pt x="8598" y="5"/>
                </a:lnTo>
                <a:lnTo>
                  <a:pt x="8524" y="4"/>
                </a:lnTo>
                <a:lnTo>
                  <a:pt x="8452" y="1"/>
                </a:lnTo>
                <a:lnTo>
                  <a:pt x="8378" y="0"/>
                </a:lnTo>
                <a:lnTo>
                  <a:pt x="8305" y="0"/>
                </a:lnTo>
                <a:lnTo>
                  <a:pt x="8288" y="0"/>
                </a:lnTo>
                <a:lnTo>
                  <a:pt x="8089" y="2"/>
                </a:lnTo>
                <a:lnTo>
                  <a:pt x="7891" y="10"/>
                </a:lnTo>
                <a:lnTo>
                  <a:pt x="7692" y="22"/>
                </a:lnTo>
                <a:lnTo>
                  <a:pt x="7494" y="39"/>
                </a:lnTo>
                <a:lnTo>
                  <a:pt x="7296" y="60"/>
                </a:lnTo>
                <a:lnTo>
                  <a:pt x="7099" y="86"/>
                </a:lnTo>
                <a:lnTo>
                  <a:pt x="6901" y="118"/>
                </a:lnTo>
                <a:lnTo>
                  <a:pt x="6705" y="153"/>
                </a:lnTo>
                <a:lnTo>
                  <a:pt x="6510" y="194"/>
                </a:lnTo>
                <a:lnTo>
                  <a:pt x="6315" y="238"/>
                </a:lnTo>
                <a:lnTo>
                  <a:pt x="6121" y="288"/>
                </a:lnTo>
                <a:lnTo>
                  <a:pt x="5929" y="342"/>
                </a:lnTo>
                <a:lnTo>
                  <a:pt x="5737" y="402"/>
                </a:lnTo>
                <a:lnTo>
                  <a:pt x="5547" y="466"/>
                </a:lnTo>
                <a:lnTo>
                  <a:pt x="5357" y="535"/>
                </a:lnTo>
                <a:lnTo>
                  <a:pt x="5170" y="607"/>
                </a:lnTo>
                <a:lnTo>
                  <a:pt x="4983" y="686"/>
                </a:lnTo>
                <a:lnTo>
                  <a:pt x="4799" y="769"/>
                </a:lnTo>
                <a:lnTo>
                  <a:pt x="4615" y="856"/>
                </a:lnTo>
                <a:lnTo>
                  <a:pt x="4435" y="948"/>
                </a:lnTo>
                <a:lnTo>
                  <a:pt x="4255" y="1045"/>
                </a:lnTo>
                <a:lnTo>
                  <a:pt x="4077" y="1147"/>
                </a:lnTo>
                <a:lnTo>
                  <a:pt x="3902" y="1254"/>
                </a:lnTo>
                <a:lnTo>
                  <a:pt x="3729" y="1365"/>
                </a:lnTo>
                <a:lnTo>
                  <a:pt x="3558" y="1480"/>
                </a:lnTo>
                <a:lnTo>
                  <a:pt x="3388" y="1601"/>
                </a:lnTo>
                <a:lnTo>
                  <a:pt x="3222" y="1727"/>
                </a:lnTo>
                <a:lnTo>
                  <a:pt x="3058" y="1857"/>
                </a:lnTo>
                <a:lnTo>
                  <a:pt x="2896" y="1991"/>
                </a:lnTo>
                <a:lnTo>
                  <a:pt x="2737" y="2130"/>
                </a:lnTo>
                <a:lnTo>
                  <a:pt x="2581" y="2275"/>
                </a:lnTo>
                <a:lnTo>
                  <a:pt x="2428" y="2424"/>
                </a:lnTo>
                <a:lnTo>
                  <a:pt x="2276" y="2579"/>
                </a:lnTo>
                <a:lnTo>
                  <a:pt x="2128" y="2739"/>
                </a:lnTo>
                <a:lnTo>
                  <a:pt x="1986" y="2901"/>
                </a:lnTo>
                <a:lnTo>
                  <a:pt x="1849" y="3065"/>
                </a:lnTo>
                <a:lnTo>
                  <a:pt x="1716" y="3232"/>
                </a:lnTo>
                <a:lnTo>
                  <a:pt x="1588" y="3401"/>
                </a:lnTo>
                <a:lnTo>
                  <a:pt x="1465" y="3573"/>
                </a:lnTo>
                <a:lnTo>
                  <a:pt x="1349" y="3748"/>
                </a:lnTo>
                <a:lnTo>
                  <a:pt x="1235" y="3925"/>
                </a:lnTo>
                <a:lnTo>
                  <a:pt x="1127" y="4104"/>
                </a:lnTo>
                <a:lnTo>
                  <a:pt x="1025" y="4284"/>
                </a:lnTo>
                <a:lnTo>
                  <a:pt x="927" y="4468"/>
                </a:lnTo>
                <a:lnTo>
                  <a:pt x="833" y="4652"/>
                </a:lnTo>
                <a:lnTo>
                  <a:pt x="746" y="4840"/>
                </a:lnTo>
                <a:lnTo>
                  <a:pt x="662" y="5028"/>
                </a:lnTo>
                <a:lnTo>
                  <a:pt x="585" y="5218"/>
                </a:lnTo>
                <a:lnTo>
                  <a:pt x="511" y="5409"/>
                </a:lnTo>
                <a:lnTo>
                  <a:pt x="442" y="5602"/>
                </a:lnTo>
                <a:lnTo>
                  <a:pt x="379" y="5797"/>
                </a:lnTo>
                <a:lnTo>
                  <a:pt x="320" y="5992"/>
                </a:lnTo>
                <a:lnTo>
                  <a:pt x="266" y="6188"/>
                </a:lnTo>
                <a:lnTo>
                  <a:pt x="218" y="6385"/>
                </a:lnTo>
                <a:lnTo>
                  <a:pt x="174" y="6584"/>
                </a:lnTo>
                <a:lnTo>
                  <a:pt x="136" y="6784"/>
                </a:lnTo>
                <a:lnTo>
                  <a:pt x="101" y="6984"/>
                </a:lnTo>
                <a:lnTo>
                  <a:pt x="72" y="7184"/>
                </a:lnTo>
                <a:lnTo>
                  <a:pt x="48" y="7385"/>
                </a:lnTo>
                <a:lnTo>
                  <a:pt x="29" y="7586"/>
                </a:lnTo>
                <a:lnTo>
                  <a:pt x="15" y="7789"/>
                </a:lnTo>
                <a:lnTo>
                  <a:pt x="5" y="7991"/>
                </a:lnTo>
                <a:lnTo>
                  <a:pt x="0" y="8193"/>
                </a:lnTo>
                <a:lnTo>
                  <a:pt x="2" y="8396"/>
                </a:lnTo>
                <a:lnTo>
                  <a:pt x="23" y="83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648962" y="3344405"/>
            <a:ext cx="1100646" cy="1035562"/>
          </a:xfrm>
          <a:custGeom>
            <a:avLst/>
            <a:gdLst>
              <a:gd name="T0" fmla="*/ 9135 w 9554"/>
              <a:gd name="T1" fmla="*/ 1673 h 8989"/>
              <a:gd name="T2" fmla="*/ 8380 w 9554"/>
              <a:gd name="T3" fmla="*/ 2973 h 8989"/>
              <a:gd name="T4" fmla="*/ 7433 w 9554"/>
              <a:gd name="T5" fmla="*/ 4111 h 8989"/>
              <a:gd name="T6" fmla="*/ 6364 w 9554"/>
              <a:gd name="T7" fmla="*/ 5081 h 8989"/>
              <a:gd name="T8" fmla="*/ 5244 w 9554"/>
              <a:gd name="T9" fmla="*/ 5877 h 8989"/>
              <a:gd name="T10" fmla="*/ 4145 w 9554"/>
              <a:gd name="T11" fmla="*/ 6491 h 8989"/>
              <a:gd name="T12" fmla="*/ 3134 w 9554"/>
              <a:gd name="T13" fmla="*/ 6916 h 8989"/>
              <a:gd name="T14" fmla="*/ 2283 w 9554"/>
              <a:gd name="T15" fmla="*/ 7147 h 8989"/>
              <a:gd name="T16" fmla="*/ 2841 w 9554"/>
              <a:gd name="T17" fmla="*/ 6705 h 8989"/>
              <a:gd name="T18" fmla="*/ 3740 w 9554"/>
              <a:gd name="T19" fmla="*/ 5999 h 8989"/>
              <a:gd name="T20" fmla="*/ 4548 w 9554"/>
              <a:gd name="T21" fmla="*/ 5215 h 8989"/>
              <a:gd name="T22" fmla="*/ 5269 w 9554"/>
              <a:gd name="T23" fmla="*/ 4371 h 8989"/>
              <a:gd name="T24" fmla="*/ 5905 w 9554"/>
              <a:gd name="T25" fmla="*/ 3484 h 8989"/>
              <a:gd name="T26" fmla="*/ 6463 w 9554"/>
              <a:gd name="T27" fmla="*/ 2574 h 8989"/>
              <a:gd name="T28" fmla="*/ 6947 w 9554"/>
              <a:gd name="T29" fmla="*/ 1657 h 8989"/>
              <a:gd name="T30" fmla="*/ 7360 w 9554"/>
              <a:gd name="T31" fmla="*/ 753 h 8989"/>
              <a:gd name="T32" fmla="*/ 7046 w 9554"/>
              <a:gd name="T33" fmla="*/ 467 h 8989"/>
              <a:gd name="T34" fmla="*/ 6513 w 9554"/>
              <a:gd name="T35" fmla="*/ 355 h 8989"/>
              <a:gd name="T36" fmla="*/ 5987 w 9554"/>
              <a:gd name="T37" fmla="*/ 216 h 8989"/>
              <a:gd name="T38" fmla="*/ 5472 w 9554"/>
              <a:gd name="T39" fmla="*/ 46 h 8989"/>
              <a:gd name="T40" fmla="*/ 5048 w 9554"/>
              <a:gd name="T41" fmla="*/ 119 h 8989"/>
              <a:gd name="T42" fmla="*/ 4658 w 9554"/>
              <a:gd name="T43" fmla="*/ 295 h 8989"/>
              <a:gd name="T44" fmla="*/ 4275 w 9554"/>
              <a:gd name="T45" fmla="*/ 494 h 8989"/>
              <a:gd name="T46" fmla="*/ 3901 w 9554"/>
              <a:gd name="T47" fmla="*/ 712 h 8989"/>
              <a:gd name="T48" fmla="*/ 3537 w 9554"/>
              <a:gd name="T49" fmla="*/ 953 h 8989"/>
              <a:gd name="T50" fmla="*/ 3184 w 9554"/>
              <a:gd name="T51" fmla="*/ 1215 h 8989"/>
              <a:gd name="T52" fmla="*/ 2841 w 9554"/>
              <a:gd name="T53" fmla="*/ 1497 h 8989"/>
              <a:gd name="T54" fmla="*/ 2510 w 9554"/>
              <a:gd name="T55" fmla="*/ 1801 h 8989"/>
              <a:gd name="T56" fmla="*/ 1920 w 9554"/>
              <a:gd name="T57" fmla="*/ 2437 h 8989"/>
              <a:gd name="T58" fmla="*/ 1333 w 9554"/>
              <a:gd name="T59" fmla="*/ 3230 h 8989"/>
              <a:gd name="T60" fmla="*/ 853 w 9554"/>
              <a:gd name="T61" fmla="*/ 4072 h 8989"/>
              <a:gd name="T62" fmla="*/ 479 w 9554"/>
              <a:gd name="T63" fmla="*/ 4952 h 8989"/>
              <a:gd name="T64" fmla="*/ 212 w 9554"/>
              <a:gd name="T65" fmla="*/ 5863 h 8989"/>
              <a:gd name="T66" fmla="*/ 53 w 9554"/>
              <a:gd name="T67" fmla="*/ 6793 h 8989"/>
              <a:gd name="T68" fmla="*/ 0 w 9554"/>
              <a:gd name="T69" fmla="*/ 7733 h 8989"/>
              <a:gd name="T70" fmla="*/ 53 w 9554"/>
              <a:gd name="T71" fmla="*/ 8673 h 8989"/>
              <a:gd name="T72" fmla="*/ 788 w 9554"/>
              <a:gd name="T73" fmla="*/ 8976 h 8989"/>
              <a:gd name="T74" fmla="*/ 1732 w 9554"/>
              <a:gd name="T75" fmla="*/ 8976 h 8989"/>
              <a:gd name="T76" fmla="*/ 2670 w 9554"/>
              <a:gd name="T77" fmla="*/ 8869 h 8989"/>
              <a:gd name="T78" fmla="*/ 3594 w 9554"/>
              <a:gd name="T79" fmla="*/ 8657 h 8989"/>
              <a:gd name="T80" fmla="*/ 4493 w 9554"/>
              <a:gd name="T81" fmla="*/ 8338 h 8989"/>
              <a:gd name="T82" fmla="*/ 5358 w 9554"/>
              <a:gd name="T83" fmla="*/ 7912 h 8989"/>
              <a:gd name="T84" fmla="*/ 6179 w 9554"/>
              <a:gd name="T85" fmla="*/ 7380 h 8989"/>
              <a:gd name="T86" fmla="*/ 6945 w 9554"/>
              <a:gd name="T87" fmla="*/ 6742 h 8989"/>
              <a:gd name="T88" fmla="*/ 7569 w 9554"/>
              <a:gd name="T89" fmla="*/ 6089 h 8989"/>
              <a:gd name="T90" fmla="*/ 8089 w 9554"/>
              <a:gd name="T91" fmla="*/ 5416 h 8989"/>
              <a:gd name="T92" fmla="*/ 8531 w 9554"/>
              <a:gd name="T93" fmla="*/ 4705 h 8989"/>
              <a:gd name="T94" fmla="*/ 8894 w 9554"/>
              <a:gd name="T95" fmla="*/ 3961 h 8989"/>
              <a:gd name="T96" fmla="*/ 9177 w 9554"/>
              <a:gd name="T97" fmla="*/ 3192 h 8989"/>
              <a:gd name="T98" fmla="*/ 9382 w 9554"/>
              <a:gd name="T99" fmla="*/ 2405 h 8989"/>
              <a:gd name="T100" fmla="*/ 9508 w 9554"/>
              <a:gd name="T101" fmla="*/ 1604 h 8989"/>
              <a:gd name="T102" fmla="*/ 9554 w 9554"/>
              <a:gd name="T103" fmla="*/ 796 h 89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554" h="8989">
                <a:moveTo>
                  <a:pt x="9533" y="596"/>
                </a:moveTo>
                <a:lnTo>
                  <a:pt x="9419" y="964"/>
                </a:lnTo>
                <a:lnTo>
                  <a:pt x="9286" y="1323"/>
                </a:lnTo>
                <a:lnTo>
                  <a:pt x="9135" y="1673"/>
                </a:lnTo>
                <a:lnTo>
                  <a:pt x="8968" y="2012"/>
                </a:lnTo>
                <a:lnTo>
                  <a:pt x="8786" y="2342"/>
                </a:lnTo>
                <a:lnTo>
                  <a:pt x="8590" y="2663"/>
                </a:lnTo>
                <a:lnTo>
                  <a:pt x="8380" y="2973"/>
                </a:lnTo>
                <a:lnTo>
                  <a:pt x="8158" y="3272"/>
                </a:lnTo>
                <a:lnTo>
                  <a:pt x="7926" y="3562"/>
                </a:lnTo>
                <a:lnTo>
                  <a:pt x="7683" y="3841"/>
                </a:lnTo>
                <a:lnTo>
                  <a:pt x="7433" y="4111"/>
                </a:lnTo>
                <a:lnTo>
                  <a:pt x="7174" y="4370"/>
                </a:lnTo>
                <a:lnTo>
                  <a:pt x="6910" y="4618"/>
                </a:lnTo>
                <a:lnTo>
                  <a:pt x="6639" y="4854"/>
                </a:lnTo>
                <a:lnTo>
                  <a:pt x="6364" y="5081"/>
                </a:lnTo>
                <a:lnTo>
                  <a:pt x="6087" y="5297"/>
                </a:lnTo>
                <a:lnTo>
                  <a:pt x="5806" y="5501"/>
                </a:lnTo>
                <a:lnTo>
                  <a:pt x="5526" y="5695"/>
                </a:lnTo>
                <a:lnTo>
                  <a:pt x="5244" y="5877"/>
                </a:lnTo>
                <a:lnTo>
                  <a:pt x="4965" y="6048"/>
                </a:lnTo>
                <a:lnTo>
                  <a:pt x="4687" y="6207"/>
                </a:lnTo>
                <a:lnTo>
                  <a:pt x="4414" y="6354"/>
                </a:lnTo>
                <a:lnTo>
                  <a:pt x="4145" y="6491"/>
                </a:lnTo>
                <a:lnTo>
                  <a:pt x="3880" y="6614"/>
                </a:lnTo>
                <a:lnTo>
                  <a:pt x="3623" y="6727"/>
                </a:lnTo>
                <a:lnTo>
                  <a:pt x="3374" y="6828"/>
                </a:lnTo>
                <a:lnTo>
                  <a:pt x="3134" y="6916"/>
                </a:lnTo>
                <a:lnTo>
                  <a:pt x="2904" y="6992"/>
                </a:lnTo>
                <a:lnTo>
                  <a:pt x="2684" y="7056"/>
                </a:lnTo>
                <a:lnTo>
                  <a:pt x="2477" y="7107"/>
                </a:lnTo>
                <a:lnTo>
                  <a:pt x="2283" y="7147"/>
                </a:lnTo>
                <a:lnTo>
                  <a:pt x="2103" y="7172"/>
                </a:lnTo>
                <a:lnTo>
                  <a:pt x="2355" y="7023"/>
                </a:lnTo>
                <a:lnTo>
                  <a:pt x="2601" y="6867"/>
                </a:lnTo>
                <a:lnTo>
                  <a:pt x="2841" y="6705"/>
                </a:lnTo>
                <a:lnTo>
                  <a:pt x="3075" y="6537"/>
                </a:lnTo>
                <a:lnTo>
                  <a:pt x="3302" y="6363"/>
                </a:lnTo>
                <a:lnTo>
                  <a:pt x="3525" y="6184"/>
                </a:lnTo>
                <a:lnTo>
                  <a:pt x="3740" y="5999"/>
                </a:lnTo>
                <a:lnTo>
                  <a:pt x="3952" y="5810"/>
                </a:lnTo>
                <a:lnTo>
                  <a:pt x="4156" y="5616"/>
                </a:lnTo>
                <a:lnTo>
                  <a:pt x="4355" y="5417"/>
                </a:lnTo>
                <a:lnTo>
                  <a:pt x="4548" y="5215"/>
                </a:lnTo>
                <a:lnTo>
                  <a:pt x="4736" y="5009"/>
                </a:lnTo>
                <a:lnTo>
                  <a:pt x="4920" y="4799"/>
                </a:lnTo>
                <a:lnTo>
                  <a:pt x="5097" y="4586"/>
                </a:lnTo>
                <a:lnTo>
                  <a:pt x="5269" y="4371"/>
                </a:lnTo>
                <a:lnTo>
                  <a:pt x="5435" y="4153"/>
                </a:lnTo>
                <a:lnTo>
                  <a:pt x="5597" y="3932"/>
                </a:lnTo>
                <a:lnTo>
                  <a:pt x="5754" y="3709"/>
                </a:lnTo>
                <a:lnTo>
                  <a:pt x="5905" y="3484"/>
                </a:lnTo>
                <a:lnTo>
                  <a:pt x="6052" y="3259"/>
                </a:lnTo>
                <a:lnTo>
                  <a:pt x="6194" y="3030"/>
                </a:lnTo>
                <a:lnTo>
                  <a:pt x="6330" y="2802"/>
                </a:lnTo>
                <a:lnTo>
                  <a:pt x="6463" y="2574"/>
                </a:lnTo>
                <a:lnTo>
                  <a:pt x="6591" y="2345"/>
                </a:lnTo>
                <a:lnTo>
                  <a:pt x="6714" y="2115"/>
                </a:lnTo>
                <a:lnTo>
                  <a:pt x="6832" y="1886"/>
                </a:lnTo>
                <a:lnTo>
                  <a:pt x="6947" y="1657"/>
                </a:lnTo>
                <a:lnTo>
                  <a:pt x="7056" y="1430"/>
                </a:lnTo>
                <a:lnTo>
                  <a:pt x="7162" y="1203"/>
                </a:lnTo>
                <a:lnTo>
                  <a:pt x="7263" y="977"/>
                </a:lnTo>
                <a:lnTo>
                  <a:pt x="7360" y="753"/>
                </a:lnTo>
                <a:lnTo>
                  <a:pt x="7452" y="531"/>
                </a:lnTo>
                <a:lnTo>
                  <a:pt x="7317" y="511"/>
                </a:lnTo>
                <a:lnTo>
                  <a:pt x="7182" y="490"/>
                </a:lnTo>
                <a:lnTo>
                  <a:pt x="7046" y="467"/>
                </a:lnTo>
                <a:lnTo>
                  <a:pt x="6912" y="442"/>
                </a:lnTo>
                <a:lnTo>
                  <a:pt x="6778" y="415"/>
                </a:lnTo>
                <a:lnTo>
                  <a:pt x="6645" y="386"/>
                </a:lnTo>
                <a:lnTo>
                  <a:pt x="6513" y="355"/>
                </a:lnTo>
                <a:lnTo>
                  <a:pt x="6381" y="323"/>
                </a:lnTo>
                <a:lnTo>
                  <a:pt x="6248" y="289"/>
                </a:lnTo>
                <a:lnTo>
                  <a:pt x="6118" y="254"/>
                </a:lnTo>
                <a:lnTo>
                  <a:pt x="5987" y="216"/>
                </a:lnTo>
                <a:lnTo>
                  <a:pt x="5857" y="176"/>
                </a:lnTo>
                <a:lnTo>
                  <a:pt x="5728" y="135"/>
                </a:lnTo>
                <a:lnTo>
                  <a:pt x="5600" y="92"/>
                </a:lnTo>
                <a:lnTo>
                  <a:pt x="5472" y="46"/>
                </a:lnTo>
                <a:lnTo>
                  <a:pt x="5344" y="0"/>
                </a:lnTo>
                <a:lnTo>
                  <a:pt x="5244" y="38"/>
                </a:lnTo>
                <a:lnTo>
                  <a:pt x="5146" y="77"/>
                </a:lnTo>
                <a:lnTo>
                  <a:pt x="5048" y="119"/>
                </a:lnTo>
                <a:lnTo>
                  <a:pt x="4949" y="160"/>
                </a:lnTo>
                <a:lnTo>
                  <a:pt x="4852" y="205"/>
                </a:lnTo>
                <a:lnTo>
                  <a:pt x="4754" y="249"/>
                </a:lnTo>
                <a:lnTo>
                  <a:pt x="4658" y="295"/>
                </a:lnTo>
                <a:lnTo>
                  <a:pt x="4561" y="343"/>
                </a:lnTo>
                <a:lnTo>
                  <a:pt x="4466" y="392"/>
                </a:lnTo>
                <a:lnTo>
                  <a:pt x="4370" y="442"/>
                </a:lnTo>
                <a:lnTo>
                  <a:pt x="4275" y="494"/>
                </a:lnTo>
                <a:lnTo>
                  <a:pt x="4180" y="547"/>
                </a:lnTo>
                <a:lnTo>
                  <a:pt x="4087" y="601"/>
                </a:lnTo>
                <a:lnTo>
                  <a:pt x="3995" y="656"/>
                </a:lnTo>
                <a:lnTo>
                  <a:pt x="3901" y="712"/>
                </a:lnTo>
                <a:lnTo>
                  <a:pt x="3810" y="771"/>
                </a:lnTo>
                <a:lnTo>
                  <a:pt x="3718" y="830"/>
                </a:lnTo>
                <a:lnTo>
                  <a:pt x="3628" y="891"/>
                </a:lnTo>
                <a:lnTo>
                  <a:pt x="3537" y="953"/>
                </a:lnTo>
                <a:lnTo>
                  <a:pt x="3449" y="1016"/>
                </a:lnTo>
                <a:lnTo>
                  <a:pt x="3359" y="1081"/>
                </a:lnTo>
                <a:lnTo>
                  <a:pt x="3271" y="1148"/>
                </a:lnTo>
                <a:lnTo>
                  <a:pt x="3184" y="1215"/>
                </a:lnTo>
                <a:lnTo>
                  <a:pt x="3097" y="1284"/>
                </a:lnTo>
                <a:lnTo>
                  <a:pt x="3011" y="1354"/>
                </a:lnTo>
                <a:lnTo>
                  <a:pt x="2926" y="1425"/>
                </a:lnTo>
                <a:lnTo>
                  <a:pt x="2841" y="1497"/>
                </a:lnTo>
                <a:lnTo>
                  <a:pt x="2757" y="1572"/>
                </a:lnTo>
                <a:lnTo>
                  <a:pt x="2674" y="1647"/>
                </a:lnTo>
                <a:lnTo>
                  <a:pt x="2593" y="1723"/>
                </a:lnTo>
                <a:lnTo>
                  <a:pt x="2510" y="1801"/>
                </a:lnTo>
                <a:lnTo>
                  <a:pt x="2430" y="1881"/>
                </a:lnTo>
                <a:lnTo>
                  <a:pt x="2253" y="2063"/>
                </a:lnTo>
                <a:lnTo>
                  <a:pt x="2083" y="2248"/>
                </a:lnTo>
                <a:lnTo>
                  <a:pt x="1920" y="2437"/>
                </a:lnTo>
                <a:lnTo>
                  <a:pt x="1763" y="2631"/>
                </a:lnTo>
                <a:lnTo>
                  <a:pt x="1613" y="2827"/>
                </a:lnTo>
                <a:lnTo>
                  <a:pt x="1470" y="3027"/>
                </a:lnTo>
                <a:lnTo>
                  <a:pt x="1333" y="3230"/>
                </a:lnTo>
                <a:lnTo>
                  <a:pt x="1203" y="3436"/>
                </a:lnTo>
                <a:lnTo>
                  <a:pt x="1080" y="3645"/>
                </a:lnTo>
                <a:lnTo>
                  <a:pt x="963" y="3857"/>
                </a:lnTo>
                <a:lnTo>
                  <a:pt x="853" y="4072"/>
                </a:lnTo>
                <a:lnTo>
                  <a:pt x="750" y="4289"/>
                </a:lnTo>
                <a:lnTo>
                  <a:pt x="653" y="4508"/>
                </a:lnTo>
                <a:lnTo>
                  <a:pt x="563" y="4729"/>
                </a:lnTo>
                <a:lnTo>
                  <a:pt x="479" y="4952"/>
                </a:lnTo>
                <a:lnTo>
                  <a:pt x="403" y="5178"/>
                </a:lnTo>
                <a:lnTo>
                  <a:pt x="333" y="5405"/>
                </a:lnTo>
                <a:lnTo>
                  <a:pt x="269" y="5633"/>
                </a:lnTo>
                <a:lnTo>
                  <a:pt x="212" y="5863"/>
                </a:lnTo>
                <a:lnTo>
                  <a:pt x="163" y="6094"/>
                </a:lnTo>
                <a:lnTo>
                  <a:pt x="119" y="6326"/>
                </a:lnTo>
                <a:lnTo>
                  <a:pt x="83" y="6559"/>
                </a:lnTo>
                <a:lnTo>
                  <a:pt x="53" y="6793"/>
                </a:lnTo>
                <a:lnTo>
                  <a:pt x="29" y="7028"/>
                </a:lnTo>
                <a:lnTo>
                  <a:pt x="13" y="7262"/>
                </a:lnTo>
                <a:lnTo>
                  <a:pt x="2" y="7498"/>
                </a:lnTo>
                <a:lnTo>
                  <a:pt x="0" y="7733"/>
                </a:lnTo>
                <a:lnTo>
                  <a:pt x="2" y="7967"/>
                </a:lnTo>
                <a:lnTo>
                  <a:pt x="13" y="8203"/>
                </a:lnTo>
                <a:lnTo>
                  <a:pt x="29" y="8438"/>
                </a:lnTo>
                <a:lnTo>
                  <a:pt x="53" y="8673"/>
                </a:lnTo>
                <a:lnTo>
                  <a:pt x="82" y="8906"/>
                </a:lnTo>
                <a:lnTo>
                  <a:pt x="317" y="8936"/>
                </a:lnTo>
                <a:lnTo>
                  <a:pt x="552" y="8960"/>
                </a:lnTo>
                <a:lnTo>
                  <a:pt x="788" y="8976"/>
                </a:lnTo>
                <a:lnTo>
                  <a:pt x="1023" y="8985"/>
                </a:lnTo>
                <a:lnTo>
                  <a:pt x="1259" y="8989"/>
                </a:lnTo>
                <a:lnTo>
                  <a:pt x="1495" y="8985"/>
                </a:lnTo>
                <a:lnTo>
                  <a:pt x="1732" y="8976"/>
                </a:lnTo>
                <a:lnTo>
                  <a:pt x="1966" y="8960"/>
                </a:lnTo>
                <a:lnTo>
                  <a:pt x="2201" y="8936"/>
                </a:lnTo>
                <a:lnTo>
                  <a:pt x="2436" y="8906"/>
                </a:lnTo>
                <a:lnTo>
                  <a:pt x="2670" y="8869"/>
                </a:lnTo>
                <a:lnTo>
                  <a:pt x="2902" y="8826"/>
                </a:lnTo>
                <a:lnTo>
                  <a:pt x="3134" y="8777"/>
                </a:lnTo>
                <a:lnTo>
                  <a:pt x="3365" y="8719"/>
                </a:lnTo>
                <a:lnTo>
                  <a:pt x="3594" y="8657"/>
                </a:lnTo>
                <a:lnTo>
                  <a:pt x="3821" y="8587"/>
                </a:lnTo>
                <a:lnTo>
                  <a:pt x="4046" y="8511"/>
                </a:lnTo>
                <a:lnTo>
                  <a:pt x="4271" y="8427"/>
                </a:lnTo>
                <a:lnTo>
                  <a:pt x="4493" y="8338"/>
                </a:lnTo>
                <a:lnTo>
                  <a:pt x="4713" y="8241"/>
                </a:lnTo>
                <a:lnTo>
                  <a:pt x="4931" y="8138"/>
                </a:lnTo>
                <a:lnTo>
                  <a:pt x="5145" y="8029"/>
                </a:lnTo>
                <a:lnTo>
                  <a:pt x="5358" y="7912"/>
                </a:lnTo>
                <a:lnTo>
                  <a:pt x="5568" y="7788"/>
                </a:lnTo>
                <a:lnTo>
                  <a:pt x="5775" y="7659"/>
                </a:lnTo>
                <a:lnTo>
                  <a:pt x="5979" y="7523"/>
                </a:lnTo>
                <a:lnTo>
                  <a:pt x="6179" y="7380"/>
                </a:lnTo>
                <a:lnTo>
                  <a:pt x="6376" y="7230"/>
                </a:lnTo>
                <a:lnTo>
                  <a:pt x="6569" y="7074"/>
                </a:lnTo>
                <a:lnTo>
                  <a:pt x="6760" y="6911"/>
                </a:lnTo>
                <a:lnTo>
                  <a:pt x="6945" y="6742"/>
                </a:lnTo>
                <a:lnTo>
                  <a:pt x="7128" y="6565"/>
                </a:lnTo>
                <a:lnTo>
                  <a:pt x="7280" y="6410"/>
                </a:lnTo>
                <a:lnTo>
                  <a:pt x="7428" y="6250"/>
                </a:lnTo>
                <a:lnTo>
                  <a:pt x="7569" y="6089"/>
                </a:lnTo>
                <a:lnTo>
                  <a:pt x="7707" y="5924"/>
                </a:lnTo>
                <a:lnTo>
                  <a:pt x="7840" y="5757"/>
                </a:lnTo>
                <a:lnTo>
                  <a:pt x="7968" y="5588"/>
                </a:lnTo>
                <a:lnTo>
                  <a:pt x="8089" y="5416"/>
                </a:lnTo>
                <a:lnTo>
                  <a:pt x="8207" y="5241"/>
                </a:lnTo>
                <a:lnTo>
                  <a:pt x="8321" y="5064"/>
                </a:lnTo>
                <a:lnTo>
                  <a:pt x="8428" y="4885"/>
                </a:lnTo>
                <a:lnTo>
                  <a:pt x="8531" y="4705"/>
                </a:lnTo>
                <a:lnTo>
                  <a:pt x="8629" y="4521"/>
                </a:lnTo>
                <a:lnTo>
                  <a:pt x="8722" y="4337"/>
                </a:lnTo>
                <a:lnTo>
                  <a:pt x="8810" y="4149"/>
                </a:lnTo>
                <a:lnTo>
                  <a:pt x="8894" y="3961"/>
                </a:lnTo>
                <a:lnTo>
                  <a:pt x="8971" y="3771"/>
                </a:lnTo>
                <a:lnTo>
                  <a:pt x="9045" y="3580"/>
                </a:lnTo>
                <a:lnTo>
                  <a:pt x="9114" y="3387"/>
                </a:lnTo>
                <a:lnTo>
                  <a:pt x="9177" y="3192"/>
                </a:lnTo>
                <a:lnTo>
                  <a:pt x="9236" y="2997"/>
                </a:lnTo>
                <a:lnTo>
                  <a:pt x="9289" y="2801"/>
                </a:lnTo>
                <a:lnTo>
                  <a:pt x="9338" y="2604"/>
                </a:lnTo>
                <a:lnTo>
                  <a:pt x="9382" y="2405"/>
                </a:lnTo>
                <a:lnTo>
                  <a:pt x="9420" y="2206"/>
                </a:lnTo>
                <a:lnTo>
                  <a:pt x="9455" y="2006"/>
                </a:lnTo>
                <a:lnTo>
                  <a:pt x="9483" y="1805"/>
                </a:lnTo>
                <a:lnTo>
                  <a:pt x="9508" y="1604"/>
                </a:lnTo>
                <a:lnTo>
                  <a:pt x="9527" y="1403"/>
                </a:lnTo>
                <a:lnTo>
                  <a:pt x="9541" y="1200"/>
                </a:lnTo>
                <a:lnTo>
                  <a:pt x="9551" y="998"/>
                </a:lnTo>
                <a:lnTo>
                  <a:pt x="9554" y="796"/>
                </a:lnTo>
                <a:lnTo>
                  <a:pt x="9554" y="595"/>
                </a:lnTo>
                <a:lnTo>
                  <a:pt x="9533" y="59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738235" y="2145848"/>
            <a:ext cx="1038443" cy="1097765"/>
          </a:xfrm>
          <a:custGeom>
            <a:avLst/>
            <a:gdLst>
              <a:gd name="T0" fmla="*/ 6104 w 9013"/>
              <a:gd name="T1" fmla="*/ 1980 h 9529"/>
              <a:gd name="T2" fmla="*/ 5430 w 9013"/>
              <a:gd name="T3" fmla="*/ 1461 h 9529"/>
              <a:gd name="T4" fmla="*/ 4717 w 9013"/>
              <a:gd name="T5" fmla="*/ 1022 h 9529"/>
              <a:gd name="T6" fmla="*/ 3971 w 9013"/>
              <a:gd name="T7" fmla="*/ 660 h 9529"/>
              <a:gd name="T8" fmla="*/ 3200 w 9013"/>
              <a:gd name="T9" fmla="*/ 378 h 9529"/>
              <a:gd name="T10" fmla="*/ 2410 w 9013"/>
              <a:gd name="T11" fmla="*/ 173 h 9529"/>
              <a:gd name="T12" fmla="*/ 1607 w 9013"/>
              <a:gd name="T13" fmla="*/ 48 h 9529"/>
              <a:gd name="T14" fmla="*/ 797 w 9013"/>
              <a:gd name="T15" fmla="*/ 0 h 9529"/>
              <a:gd name="T16" fmla="*/ 1324 w 9013"/>
              <a:gd name="T17" fmla="*/ 269 h 9529"/>
              <a:gd name="T18" fmla="*/ 2667 w 9013"/>
              <a:gd name="T19" fmla="*/ 963 h 9529"/>
              <a:gd name="T20" fmla="*/ 3851 w 9013"/>
              <a:gd name="T21" fmla="*/ 1867 h 9529"/>
              <a:gd name="T22" fmla="*/ 4867 w 9013"/>
              <a:gd name="T23" fmla="*/ 2908 h 9529"/>
              <a:gd name="T24" fmla="*/ 5709 w 9013"/>
              <a:gd name="T25" fmla="*/ 4018 h 9529"/>
              <a:gd name="T26" fmla="*/ 6371 w 9013"/>
              <a:gd name="T27" fmla="*/ 5127 h 9529"/>
              <a:gd name="T28" fmla="*/ 6846 w 9013"/>
              <a:gd name="T29" fmla="*/ 6164 h 9529"/>
              <a:gd name="T30" fmla="*/ 7126 w 9013"/>
              <a:gd name="T31" fmla="*/ 7059 h 9529"/>
              <a:gd name="T32" fmla="*/ 6885 w 9013"/>
              <a:gd name="T33" fmla="*/ 6935 h 9529"/>
              <a:gd name="T34" fmla="*/ 6200 w 9013"/>
              <a:gd name="T35" fmla="*/ 6015 h 9529"/>
              <a:gd name="T36" fmla="*/ 5432 w 9013"/>
              <a:gd name="T37" fmla="*/ 5187 h 9529"/>
              <a:gd name="T38" fmla="*/ 4600 w 9013"/>
              <a:gd name="T39" fmla="*/ 4448 h 9529"/>
              <a:gd name="T40" fmla="*/ 3720 w 9013"/>
              <a:gd name="T41" fmla="*/ 3793 h 9529"/>
              <a:gd name="T42" fmla="*/ 2811 w 9013"/>
              <a:gd name="T43" fmla="*/ 3217 h 9529"/>
              <a:gd name="T44" fmla="*/ 1893 w 9013"/>
              <a:gd name="T45" fmla="*/ 2717 h 9529"/>
              <a:gd name="T46" fmla="*/ 982 w 9013"/>
              <a:gd name="T47" fmla="*/ 2288 h 9529"/>
              <a:gd name="T48" fmla="*/ 494 w 9013"/>
              <a:gd name="T49" fmla="*/ 2369 h 9529"/>
              <a:gd name="T50" fmla="*/ 389 w 9013"/>
              <a:gd name="T51" fmla="*/ 2903 h 9529"/>
              <a:gd name="T52" fmla="*/ 255 w 9013"/>
              <a:gd name="T53" fmla="*/ 3431 h 9529"/>
              <a:gd name="T54" fmla="*/ 92 w 9013"/>
              <a:gd name="T55" fmla="*/ 3948 h 9529"/>
              <a:gd name="T56" fmla="*/ 78 w 9013"/>
              <a:gd name="T57" fmla="*/ 4401 h 9529"/>
              <a:gd name="T58" fmla="*/ 250 w 9013"/>
              <a:gd name="T59" fmla="*/ 4791 h 9529"/>
              <a:gd name="T60" fmla="*/ 444 w 9013"/>
              <a:gd name="T61" fmla="*/ 5174 h 9529"/>
              <a:gd name="T62" fmla="*/ 658 w 9013"/>
              <a:gd name="T63" fmla="*/ 5548 h 9529"/>
              <a:gd name="T64" fmla="*/ 894 w 9013"/>
              <a:gd name="T65" fmla="*/ 5913 h 9529"/>
              <a:gd name="T66" fmla="*/ 1150 w 9013"/>
              <a:gd name="T67" fmla="*/ 6268 h 9529"/>
              <a:gd name="T68" fmla="*/ 1428 w 9013"/>
              <a:gd name="T69" fmla="*/ 6612 h 9529"/>
              <a:gd name="T70" fmla="*/ 1728 w 9013"/>
              <a:gd name="T71" fmla="*/ 6944 h 9529"/>
              <a:gd name="T72" fmla="*/ 2253 w 9013"/>
              <a:gd name="T73" fmla="*/ 7451 h 9529"/>
              <a:gd name="T74" fmla="*/ 3034 w 9013"/>
              <a:gd name="T75" fmla="*/ 8063 h 9529"/>
              <a:gd name="T76" fmla="*/ 3867 w 9013"/>
              <a:gd name="T77" fmla="*/ 8569 h 9529"/>
              <a:gd name="T78" fmla="*/ 4741 w 9013"/>
              <a:gd name="T79" fmla="*/ 8967 h 9529"/>
              <a:gd name="T80" fmla="*/ 5648 w 9013"/>
              <a:gd name="T81" fmla="*/ 9261 h 9529"/>
              <a:gd name="T82" fmla="*/ 6576 w 9013"/>
              <a:gd name="T83" fmla="*/ 9446 h 9529"/>
              <a:gd name="T84" fmla="*/ 7517 w 9013"/>
              <a:gd name="T85" fmla="*/ 9527 h 9529"/>
              <a:gd name="T86" fmla="*/ 8461 w 9013"/>
              <a:gd name="T87" fmla="*/ 9500 h 9529"/>
              <a:gd name="T88" fmla="*/ 8983 w 9013"/>
              <a:gd name="T89" fmla="*/ 8978 h 9529"/>
              <a:gd name="T90" fmla="*/ 9009 w 9013"/>
              <a:gd name="T91" fmla="*/ 8038 h 9529"/>
              <a:gd name="T92" fmla="*/ 8929 w 9013"/>
              <a:gd name="T93" fmla="*/ 7099 h 9529"/>
              <a:gd name="T94" fmla="*/ 8742 w 9013"/>
              <a:gd name="T95" fmla="*/ 6173 h 9529"/>
              <a:gd name="T96" fmla="*/ 8450 w 9013"/>
              <a:gd name="T97" fmla="*/ 5269 h 9529"/>
              <a:gd name="T98" fmla="*/ 8050 w 9013"/>
              <a:gd name="T99" fmla="*/ 4397 h 9529"/>
              <a:gd name="T100" fmla="*/ 7543 w 9013"/>
              <a:gd name="T101" fmla="*/ 3567 h 9529"/>
              <a:gd name="T102" fmla="*/ 6929 w 9013"/>
              <a:gd name="T103" fmla="*/ 2788 h 9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013" h="9529">
                <a:moveTo>
                  <a:pt x="6583" y="2421"/>
                </a:moveTo>
                <a:lnTo>
                  <a:pt x="6426" y="2269"/>
                </a:lnTo>
                <a:lnTo>
                  <a:pt x="6266" y="2122"/>
                </a:lnTo>
                <a:lnTo>
                  <a:pt x="6104" y="1980"/>
                </a:lnTo>
                <a:lnTo>
                  <a:pt x="5939" y="1844"/>
                </a:lnTo>
                <a:lnTo>
                  <a:pt x="5772" y="1711"/>
                </a:lnTo>
                <a:lnTo>
                  <a:pt x="5602" y="1584"/>
                </a:lnTo>
                <a:lnTo>
                  <a:pt x="5430" y="1461"/>
                </a:lnTo>
                <a:lnTo>
                  <a:pt x="5254" y="1344"/>
                </a:lnTo>
                <a:lnTo>
                  <a:pt x="5077" y="1232"/>
                </a:lnTo>
                <a:lnTo>
                  <a:pt x="4897" y="1124"/>
                </a:lnTo>
                <a:lnTo>
                  <a:pt x="4717" y="1022"/>
                </a:lnTo>
                <a:lnTo>
                  <a:pt x="4532" y="924"/>
                </a:lnTo>
                <a:lnTo>
                  <a:pt x="4348" y="831"/>
                </a:lnTo>
                <a:lnTo>
                  <a:pt x="4159" y="743"/>
                </a:lnTo>
                <a:lnTo>
                  <a:pt x="3971" y="660"/>
                </a:lnTo>
                <a:lnTo>
                  <a:pt x="3781" y="582"/>
                </a:lnTo>
                <a:lnTo>
                  <a:pt x="3589" y="509"/>
                </a:lnTo>
                <a:lnTo>
                  <a:pt x="3396" y="441"/>
                </a:lnTo>
                <a:lnTo>
                  <a:pt x="3200" y="378"/>
                </a:lnTo>
                <a:lnTo>
                  <a:pt x="3004" y="319"/>
                </a:lnTo>
                <a:lnTo>
                  <a:pt x="2808" y="265"/>
                </a:lnTo>
                <a:lnTo>
                  <a:pt x="2610" y="217"/>
                </a:lnTo>
                <a:lnTo>
                  <a:pt x="2410" y="173"/>
                </a:lnTo>
                <a:lnTo>
                  <a:pt x="2210" y="135"/>
                </a:lnTo>
                <a:lnTo>
                  <a:pt x="2009" y="101"/>
                </a:lnTo>
                <a:lnTo>
                  <a:pt x="1809" y="71"/>
                </a:lnTo>
                <a:lnTo>
                  <a:pt x="1607" y="48"/>
                </a:lnTo>
                <a:lnTo>
                  <a:pt x="1405" y="28"/>
                </a:lnTo>
                <a:lnTo>
                  <a:pt x="1203" y="15"/>
                </a:lnTo>
                <a:lnTo>
                  <a:pt x="1000" y="5"/>
                </a:lnTo>
                <a:lnTo>
                  <a:pt x="797" y="0"/>
                </a:lnTo>
                <a:lnTo>
                  <a:pt x="594" y="1"/>
                </a:lnTo>
                <a:lnTo>
                  <a:pt x="595" y="21"/>
                </a:lnTo>
                <a:lnTo>
                  <a:pt x="965" y="136"/>
                </a:lnTo>
                <a:lnTo>
                  <a:pt x="1324" y="269"/>
                </a:lnTo>
                <a:lnTo>
                  <a:pt x="1675" y="418"/>
                </a:lnTo>
                <a:lnTo>
                  <a:pt x="2016" y="585"/>
                </a:lnTo>
                <a:lnTo>
                  <a:pt x="2346" y="767"/>
                </a:lnTo>
                <a:lnTo>
                  <a:pt x="2667" y="963"/>
                </a:lnTo>
                <a:lnTo>
                  <a:pt x="2979" y="1173"/>
                </a:lnTo>
                <a:lnTo>
                  <a:pt x="3280" y="1394"/>
                </a:lnTo>
                <a:lnTo>
                  <a:pt x="3570" y="1625"/>
                </a:lnTo>
                <a:lnTo>
                  <a:pt x="3851" y="1867"/>
                </a:lnTo>
                <a:lnTo>
                  <a:pt x="4120" y="2117"/>
                </a:lnTo>
                <a:lnTo>
                  <a:pt x="4380" y="2375"/>
                </a:lnTo>
                <a:lnTo>
                  <a:pt x="4629" y="2638"/>
                </a:lnTo>
                <a:lnTo>
                  <a:pt x="4867" y="2908"/>
                </a:lnTo>
                <a:lnTo>
                  <a:pt x="5094" y="3182"/>
                </a:lnTo>
                <a:lnTo>
                  <a:pt x="5311" y="3459"/>
                </a:lnTo>
                <a:lnTo>
                  <a:pt x="5515" y="3739"/>
                </a:lnTo>
                <a:lnTo>
                  <a:pt x="5709" y="4018"/>
                </a:lnTo>
                <a:lnTo>
                  <a:pt x="5891" y="4299"/>
                </a:lnTo>
                <a:lnTo>
                  <a:pt x="6063" y="4578"/>
                </a:lnTo>
                <a:lnTo>
                  <a:pt x="6223" y="4854"/>
                </a:lnTo>
                <a:lnTo>
                  <a:pt x="6371" y="5127"/>
                </a:lnTo>
                <a:lnTo>
                  <a:pt x="6507" y="5396"/>
                </a:lnTo>
                <a:lnTo>
                  <a:pt x="6632" y="5659"/>
                </a:lnTo>
                <a:lnTo>
                  <a:pt x="6745" y="5916"/>
                </a:lnTo>
                <a:lnTo>
                  <a:pt x="6846" y="6164"/>
                </a:lnTo>
                <a:lnTo>
                  <a:pt x="6934" y="6404"/>
                </a:lnTo>
                <a:lnTo>
                  <a:pt x="7011" y="6633"/>
                </a:lnTo>
                <a:lnTo>
                  <a:pt x="7075" y="6853"/>
                </a:lnTo>
                <a:lnTo>
                  <a:pt x="7126" y="7059"/>
                </a:lnTo>
                <a:lnTo>
                  <a:pt x="7166" y="7253"/>
                </a:lnTo>
                <a:lnTo>
                  <a:pt x="7191" y="7432"/>
                </a:lnTo>
                <a:lnTo>
                  <a:pt x="7041" y="7180"/>
                </a:lnTo>
                <a:lnTo>
                  <a:pt x="6885" y="6935"/>
                </a:lnTo>
                <a:lnTo>
                  <a:pt x="6723" y="6696"/>
                </a:lnTo>
                <a:lnTo>
                  <a:pt x="6554" y="6463"/>
                </a:lnTo>
                <a:lnTo>
                  <a:pt x="6380" y="6236"/>
                </a:lnTo>
                <a:lnTo>
                  <a:pt x="6200" y="6015"/>
                </a:lnTo>
                <a:lnTo>
                  <a:pt x="6015" y="5799"/>
                </a:lnTo>
                <a:lnTo>
                  <a:pt x="5825" y="5590"/>
                </a:lnTo>
                <a:lnTo>
                  <a:pt x="5631" y="5386"/>
                </a:lnTo>
                <a:lnTo>
                  <a:pt x="5432" y="5187"/>
                </a:lnTo>
                <a:lnTo>
                  <a:pt x="5230" y="4995"/>
                </a:lnTo>
                <a:lnTo>
                  <a:pt x="5023" y="4807"/>
                </a:lnTo>
                <a:lnTo>
                  <a:pt x="4813" y="4624"/>
                </a:lnTo>
                <a:lnTo>
                  <a:pt x="4600" y="4448"/>
                </a:lnTo>
                <a:lnTo>
                  <a:pt x="4383" y="4277"/>
                </a:lnTo>
                <a:lnTo>
                  <a:pt x="4164" y="4110"/>
                </a:lnTo>
                <a:lnTo>
                  <a:pt x="3943" y="3948"/>
                </a:lnTo>
                <a:lnTo>
                  <a:pt x="3720" y="3793"/>
                </a:lnTo>
                <a:lnTo>
                  <a:pt x="3495" y="3642"/>
                </a:lnTo>
                <a:lnTo>
                  <a:pt x="3268" y="3496"/>
                </a:lnTo>
                <a:lnTo>
                  <a:pt x="3040" y="3354"/>
                </a:lnTo>
                <a:lnTo>
                  <a:pt x="2811" y="3217"/>
                </a:lnTo>
                <a:lnTo>
                  <a:pt x="2583" y="3085"/>
                </a:lnTo>
                <a:lnTo>
                  <a:pt x="2353" y="2959"/>
                </a:lnTo>
                <a:lnTo>
                  <a:pt x="2123" y="2836"/>
                </a:lnTo>
                <a:lnTo>
                  <a:pt x="1893" y="2717"/>
                </a:lnTo>
                <a:lnTo>
                  <a:pt x="1664" y="2603"/>
                </a:lnTo>
                <a:lnTo>
                  <a:pt x="1435" y="2494"/>
                </a:lnTo>
                <a:lnTo>
                  <a:pt x="1207" y="2388"/>
                </a:lnTo>
                <a:lnTo>
                  <a:pt x="982" y="2288"/>
                </a:lnTo>
                <a:lnTo>
                  <a:pt x="757" y="2191"/>
                </a:lnTo>
                <a:lnTo>
                  <a:pt x="535" y="2099"/>
                </a:lnTo>
                <a:lnTo>
                  <a:pt x="515" y="2234"/>
                </a:lnTo>
                <a:lnTo>
                  <a:pt x="494" y="2369"/>
                </a:lnTo>
                <a:lnTo>
                  <a:pt x="471" y="2504"/>
                </a:lnTo>
                <a:lnTo>
                  <a:pt x="446" y="2637"/>
                </a:lnTo>
                <a:lnTo>
                  <a:pt x="419" y="2771"/>
                </a:lnTo>
                <a:lnTo>
                  <a:pt x="389" y="2903"/>
                </a:lnTo>
                <a:lnTo>
                  <a:pt x="359" y="3036"/>
                </a:lnTo>
                <a:lnTo>
                  <a:pt x="327" y="3168"/>
                </a:lnTo>
                <a:lnTo>
                  <a:pt x="292" y="3300"/>
                </a:lnTo>
                <a:lnTo>
                  <a:pt x="255" y="3431"/>
                </a:lnTo>
                <a:lnTo>
                  <a:pt x="217" y="3561"/>
                </a:lnTo>
                <a:lnTo>
                  <a:pt x="178" y="3691"/>
                </a:lnTo>
                <a:lnTo>
                  <a:pt x="136" y="3820"/>
                </a:lnTo>
                <a:lnTo>
                  <a:pt x="92" y="3948"/>
                </a:lnTo>
                <a:lnTo>
                  <a:pt x="46" y="4076"/>
                </a:lnTo>
                <a:lnTo>
                  <a:pt x="0" y="4204"/>
                </a:lnTo>
                <a:lnTo>
                  <a:pt x="38" y="4303"/>
                </a:lnTo>
                <a:lnTo>
                  <a:pt x="78" y="4401"/>
                </a:lnTo>
                <a:lnTo>
                  <a:pt x="119" y="4499"/>
                </a:lnTo>
                <a:lnTo>
                  <a:pt x="161" y="4597"/>
                </a:lnTo>
                <a:lnTo>
                  <a:pt x="205" y="4694"/>
                </a:lnTo>
                <a:lnTo>
                  <a:pt x="250" y="4791"/>
                </a:lnTo>
                <a:lnTo>
                  <a:pt x="296" y="4888"/>
                </a:lnTo>
                <a:lnTo>
                  <a:pt x="344" y="4984"/>
                </a:lnTo>
                <a:lnTo>
                  <a:pt x="393" y="5079"/>
                </a:lnTo>
                <a:lnTo>
                  <a:pt x="444" y="5174"/>
                </a:lnTo>
                <a:lnTo>
                  <a:pt x="495" y="5268"/>
                </a:lnTo>
                <a:lnTo>
                  <a:pt x="548" y="5363"/>
                </a:lnTo>
                <a:lnTo>
                  <a:pt x="602" y="5456"/>
                </a:lnTo>
                <a:lnTo>
                  <a:pt x="658" y="5548"/>
                </a:lnTo>
                <a:lnTo>
                  <a:pt x="714" y="5640"/>
                </a:lnTo>
                <a:lnTo>
                  <a:pt x="773" y="5732"/>
                </a:lnTo>
                <a:lnTo>
                  <a:pt x="832" y="5823"/>
                </a:lnTo>
                <a:lnTo>
                  <a:pt x="894" y="5913"/>
                </a:lnTo>
                <a:lnTo>
                  <a:pt x="955" y="6003"/>
                </a:lnTo>
                <a:lnTo>
                  <a:pt x="1019" y="6092"/>
                </a:lnTo>
                <a:lnTo>
                  <a:pt x="1084" y="6181"/>
                </a:lnTo>
                <a:lnTo>
                  <a:pt x="1150" y="6268"/>
                </a:lnTo>
                <a:lnTo>
                  <a:pt x="1217" y="6355"/>
                </a:lnTo>
                <a:lnTo>
                  <a:pt x="1286" y="6442"/>
                </a:lnTo>
                <a:lnTo>
                  <a:pt x="1356" y="6527"/>
                </a:lnTo>
                <a:lnTo>
                  <a:pt x="1428" y="6612"/>
                </a:lnTo>
                <a:lnTo>
                  <a:pt x="1500" y="6696"/>
                </a:lnTo>
                <a:lnTo>
                  <a:pt x="1575" y="6779"/>
                </a:lnTo>
                <a:lnTo>
                  <a:pt x="1650" y="6863"/>
                </a:lnTo>
                <a:lnTo>
                  <a:pt x="1728" y="6944"/>
                </a:lnTo>
                <a:lnTo>
                  <a:pt x="1805" y="7026"/>
                </a:lnTo>
                <a:lnTo>
                  <a:pt x="1885" y="7106"/>
                </a:lnTo>
                <a:lnTo>
                  <a:pt x="2067" y="7282"/>
                </a:lnTo>
                <a:lnTo>
                  <a:pt x="2253" y="7451"/>
                </a:lnTo>
                <a:lnTo>
                  <a:pt x="2442" y="7615"/>
                </a:lnTo>
                <a:lnTo>
                  <a:pt x="2637" y="7770"/>
                </a:lnTo>
                <a:lnTo>
                  <a:pt x="2833" y="7920"/>
                </a:lnTo>
                <a:lnTo>
                  <a:pt x="3034" y="8063"/>
                </a:lnTo>
                <a:lnTo>
                  <a:pt x="3238" y="8200"/>
                </a:lnTo>
                <a:lnTo>
                  <a:pt x="3445" y="8330"/>
                </a:lnTo>
                <a:lnTo>
                  <a:pt x="3654" y="8452"/>
                </a:lnTo>
                <a:lnTo>
                  <a:pt x="3867" y="8569"/>
                </a:lnTo>
                <a:lnTo>
                  <a:pt x="4082" y="8678"/>
                </a:lnTo>
                <a:lnTo>
                  <a:pt x="4300" y="8781"/>
                </a:lnTo>
                <a:lnTo>
                  <a:pt x="4520" y="8878"/>
                </a:lnTo>
                <a:lnTo>
                  <a:pt x="4741" y="8967"/>
                </a:lnTo>
                <a:lnTo>
                  <a:pt x="4965" y="9051"/>
                </a:lnTo>
                <a:lnTo>
                  <a:pt x="5191" y="9127"/>
                </a:lnTo>
                <a:lnTo>
                  <a:pt x="5419" y="9197"/>
                </a:lnTo>
                <a:lnTo>
                  <a:pt x="5648" y="9261"/>
                </a:lnTo>
                <a:lnTo>
                  <a:pt x="5878" y="9317"/>
                </a:lnTo>
                <a:lnTo>
                  <a:pt x="6110" y="9366"/>
                </a:lnTo>
                <a:lnTo>
                  <a:pt x="6343" y="9410"/>
                </a:lnTo>
                <a:lnTo>
                  <a:pt x="6576" y="9446"/>
                </a:lnTo>
                <a:lnTo>
                  <a:pt x="6810" y="9476"/>
                </a:lnTo>
                <a:lnTo>
                  <a:pt x="7046" y="9500"/>
                </a:lnTo>
                <a:lnTo>
                  <a:pt x="7281" y="9516"/>
                </a:lnTo>
                <a:lnTo>
                  <a:pt x="7517" y="9527"/>
                </a:lnTo>
                <a:lnTo>
                  <a:pt x="7753" y="9529"/>
                </a:lnTo>
                <a:lnTo>
                  <a:pt x="7988" y="9527"/>
                </a:lnTo>
                <a:lnTo>
                  <a:pt x="8225" y="9516"/>
                </a:lnTo>
                <a:lnTo>
                  <a:pt x="8461" y="9500"/>
                </a:lnTo>
                <a:lnTo>
                  <a:pt x="8696" y="9476"/>
                </a:lnTo>
                <a:lnTo>
                  <a:pt x="8929" y="9447"/>
                </a:lnTo>
                <a:lnTo>
                  <a:pt x="8960" y="9213"/>
                </a:lnTo>
                <a:lnTo>
                  <a:pt x="8983" y="8978"/>
                </a:lnTo>
                <a:lnTo>
                  <a:pt x="8999" y="8743"/>
                </a:lnTo>
                <a:lnTo>
                  <a:pt x="9009" y="8509"/>
                </a:lnTo>
                <a:lnTo>
                  <a:pt x="9013" y="8273"/>
                </a:lnTo>
                <a:lnTo>
                  <a:pt x="9009" y="8038"/>
                </a:lnTo>
                <a:lnTo>
                  <a:pt x="8999" y="7802"/>
                </a:lnTo>
                <a:lnTo>
                  <a:pt x="8983" y="7568"/>
                </a:lnTo>
                <a:lnTo>
                  <a:pt x="8960" y="7334"/>
                </a:lnTo>
                <a:lnTo>
                  <a:pt x="8929" y="7099"/>
                </a:lnTo>
                <a:lnTo>
                  <a:pt x="8892" y="6866"/>
                </a:lnTo>
                <a:lnTo>
                  <a:pt x="8849" y="6635"/>
                </a:lnTo>
                <a:lnTo>
                  <a:pt x="8799" y="6404"/>
                </a:lnTo>
                <a:lnTo>
                  <a:pt x="8742" y="6173"/>
                </a:lnTo>
                <a:lnTo>
                  <a:pt x="8680" y="5945"/>
                </a:lnTo>
                <a:lnTo>
                  <a:pt x="8610" y="5718"/>
                </a:lnTo>
                <a:lnTo>
                  <a:pt x="8533" y="5494"/>
                </a:lnTo>
                <a:lnTo>
                  <a:pt x="8450" y="5269"/>
                </a:lnTo>
                <a:lnTo>
                  <a:pt x="8360" y="5049"/>
                </a:lnTo>
                <a:lnTo>
                  <a:pt x="8263" y="4829"/>
                </a:lnTo>
                <a:lnTo>
                  <a:pt x="8159" y="4612"/>
                </a:lnTo>
                <a:lnTo>
                  <a:pt x="8050" y="4397"/>
                </a:lnTo>
                <a:lnTo>
                  <a:pt x="7933" y="4186"/>
                </a:lnTo>
                <a:lnTo>
                  <a:pt x="7809" y="3977"/>
                </a:lnTo>
                <a:lnTo>
                  <a:pt x="7680" y="3771"/>
                </a:lnTo>
                <a:lnTo>
                  <a:pt x="7543" y="3567"/>
                </a:lnTo>
                <a:lnTo>
                  <a:pt x="7399" y="3367"/>
                </a:lnTo>
                <a:lnTo>
                  <a:pt x="7249" y="3171"/>
                </a:lnTo>
                <a:lnTo>
                  <a:pt x="7093" y="2978"/>
                </a:lnTo>
                <a:lnTo>
                  <a:pt x="6929" y="2788"/>
                </a:lnTo>
                <a:lnTo>
                  <a:pt x="6760" y="2603"/>
                </a:lnTo>
                <a:lnTo>
                  <a:pt x="6583" y="242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cxnSp>
        <p:nvCxnSpPr>
          <p:cNvPr id="71" name="Прямая соединительная линия 70"/>
          <p:cNvCxnSpPr>
            <a:stCxn id="75" idx="6"/>
          </p:cNvCxnSpPr>
          <p:nvPr/>
        </p:nvCxnSpPr>
        <p:spPr>
          <a:xfrm>
            <a:off x="3209868" y="2264464"/>
            <a:ext cx="80479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5768577" y="3013341"/>
            <a:ext cx="35978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5213572" y="4277103"/>
            <a:ext cx="91002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Овал 74"/>
          <p:cNvSpPr/>
          <p:nvPr/>
        </p:nvSpPr>
        <p:spPr>
          <a:xfrm>
            <a:off x="2830179" y="2074620"/>
            <a:ext cx="379689" cy="37968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7" name="Freeform 33"/>
          <p:cNvSpPr>
            <a:spLocks/>
          </p:cNvSpPr>
          <p:nvPr/>
        </p:nvSpPr>
        <p:spPr bwMode="auto">
          <a:xfrm>
            <a:off x="2931216" y="2179992"/>
            <a:ext cx="182249" cy="181314"/>
          </a:xfrm>
          <a:custGeom>
            <a:avLst/>
            <a:gdLst>
              <a:gd name="T0" fmla="*/ 558 w 584"/>
              <a:gd name="T1" fmla="*/ 23 h 584"/>
              <a:gd name="T2" fmla="*/ 545 w 584"/>
              <a:gd name="T3" fmla="*/ 29 h 584"/>
              <a:gd name="T4" fmla="*/ 472 w 584"/>
              <a:gd name="T5" fmla="*/ 62 h 584"/>
              <a:gd name="T6" fmla="*/ 425 w 584"/>
              <a:gd name="T7" fmla="*/ 33 h 584"/>
              <a:gd name="T8" fmla="*/ 373 w 584"/>
              <a:gd name="T9" fmla="*/ 12 h 584"/>
              <a:gd name="T10" fmla="*/ 319 w 584"/>
              <a:gd name="T11" fmla="*/ 1 h 584"/>
              <a:gd name="T12" fmla="*/ 262 w 584"/>
              <a:gd name="T13" fmla="*/ 2 h 584"/>
              <a:gd name="T14" fmla="*/ 206 w 584"/>
              <a:gd name="T15" fmla="*/ 13 h 584"/>
              <a:gd name="T16" fmla="*/ 152 w 584"/>
              <a:gd name="T17" fmla="*/ 35 h 584"/>
              <a:gd name="T18" fmla="*/ 105 w 584"/>
              <a:gd name="T19" fmla="*/ 67 h 584"/>
              <a:gd name="T20" fmla="*/ 67 w 584"/>
              <a:gd name="T21" fmla="*/ 106 h 584"/>
              <a:gd name="T22" fmla="*/ 35 w 584"/>
              <a:gd name="T23" fmla="*/ 153 h 584"/>
              <a:gd name="T24" fmla="*/ 13 w 584"/>
              <a:gd name="T25" fmla="*/ 206 h 584"/>
              <a:gd name="T26" fmla="*/ 1 w 584"/>
              <a:gd name="T27" fmla="*/ 263 h 584"/>
              <a:gd name="T28" fmla="*/ 1 w 584"/>
              <a:gd name="T29" fmla="*/ 322 h 584"/>
              <a:gd name="T30" fmla="*/ 13 w 584"/>
              <a:gd name="T31" fmla="*/ 378 h 584"/>
              <a:gd name="T32" fmla="*/ 35 w 584"/>
              <a:gd name="T33" fmla="*/ 432 h 584"/>
              <a:gd name="T34" fmla="*/ 67 w 584"/>
              <a:gd name="T35" fmla="*/ 478 h 584"/>
              <a:gd name="T36" fmla="*/ 105 w 584"/>
              <a:gd name="T37" fmla="*/ 517 h 584"/>
              <a:gd name="T38" fmla="*/ 152 w 584"/>
              <a:gd name="T39" fmla="*/ 548 h 584"/>
              <a:gd name="T40" fmla="*/ 206 w 584"/>
              <a:gd name="T41" fmla="*/ 571 h 584"/>
              <a:gd name="T42" fmla="*/ 262 w 584"/>
              <a:gd name="T43" fmla="*/ 583 h 584"/>
              <a:gd name="T44" fmla="*/ 324 w 584"/>
              <a:gd name="T45" fmla="*/ 583 h 584"/>
              <a:gd name="T46" fmla="*/ 386 w 584"/>
              <a:gd name="T47" fmla="*/ 569 h 584"/>
              <a:gd name="T48" fmla="*/ 445 w 584"/>
              <a:gd name="T49" fmla="*/ 542 h 584"/>
              <a:gd name="T50" fmla="*/ 494 w 584"/>
              <a:gd name="T51" fmla="*/ 503 h 584"/>
              <a:gd name="T52" fmla="*/ 519 w 584"/>
              <a:gd name="T53" fmla="*/ 471 h 584"/>
              <a:gd name="T54" fmla="*/ 459 w 584"/>
              <a:gd name="T55" fmla="*/ 408 h 584"/>
              <a:gd name="T56" fmla="*/ 438 w 584"/>
              <a:gd name="T57" fmla="*/ 420 h 584"/>
              <a:gd name="T58" fmla="*/ 406 w 584"/>
              <a:gd name="T59" fmla="*/ 450 h 584"/>
              <a:gd name="T60" fmla="*/ 367 w 584"/>
              <a:gd name="T61" fmla="*/ 472 h 584"/>
              <a:gd name="T62" fmla="*/ 325 w 584"/>
              <a:gd name="T63" fmla="*/ 485 h 584"/>
              <a:gd name="T64" fmla="*/ 272 w 584"/>
              <a:gd name="T65" fmla="*/ 486 h 584"/>
              <a:gd name="T66" fmla="*/ 198 w 584"/>
              <a:gd name="T67" fmla="*/ 463 h 584"/>
              <a:gd name="T68" fmla="*/ 141 w 584"/>
              <a:gd name="T69" fmla="*/ 417 h 584"/>
              <a:gd name="T70" fmla="*/ 105 w 584"/>
              <a:gd name="T71" fmla="*/ 350 h 584"/>
              <a:gd name="T72" fmla="*/ 98 w 584"/>
              <a:gd name="T73" fmla="*/ 273 h 584"/>
              <a:gd name="T74" fmla="*/ 121 w 584"/>
              <a:gd name="T75" fmla="*/ 199 h 584"/>
              <a:gd name="T76" fmla="*/ 167 w 584"/>
              <a:gd name="T77" fmla="*/ 142 h 584"/>
              <a:gd name="T78" fmla="*/ 234 w 584"/>
              <a:gd name="T79" fmla="*/ 106 h 584"/>
              <a:gd name="T80" fmla="*/ 311 w 584"/>
              <a:gd name="T81" fmla="*/ 98 h 584"/>
              <a:gd name="T82" fmla="*/ 379 w 584"/>
              <a:gd name="T83" fmla="*/ 117 h 584"/>
              <a:gd name="T84" fmla="*/ 372 w 584"/>
              <a:gd name="T85" fmla="*/ 202 h 584"/>
              <a:gd name="T86" fmla="*/ 365 w 584"/>
              <a:gd name="T87" fmla="*/ 215 h 584"/>
              <a:gd name="T88" fmla="*/ 367 w 584"/>
              <a:gd name="T89" fmla="*/ 229 h 584"/>
              <a:gd name="T90" fmla="*/ 388 w 584"/>
              <a:gd name="T91" fmla="*/ 244 h 584"/>
              <a:gd name="T92" fmla="*/ 573 w 584"/>
              <a:gd name="T93" fmla="*/ 239 h 584"/>
              <a:gd name="T94" fmla="*/ 583 w 584"/>
              <a:gd name="T95" fmla="*/ 224 h 584"/>
              <a:gd name="T96" fmla="*/ 580 w 584"/>
              <a:gd name="T97" fmla="*/ 35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4" h="584">
                <a:moveTo>
                  <a:pt x="569" y="26"/>
                </a:moveTo>
                <a:lnTo>
                  <a:pt x="564" y="25"/>
                </a:lnTo>
                <a:lnTo>
                  <a:pt x="561" y="25"/>
                </a:lnTo>
                <a:lnTo>
                  <a:pt x="558" y="23"/>
                </a:lnTo>
                <a:lnTo>
                  <a:pt x="555" y="25"/>
                </a:lnTo>
                <a:lnTo>
                  <a:pt x="552" y="26"/>
                </a:lnTo>
                <a:lnTo>
                  <a:pt x="548" y="27"/>
                </a:lnTo>
                <a:lnTo>
                  <a:pt x="545" y="29"/>
                </a:lnTo>
                <a:lnTo>
                  <a:pt x="542" y="31"/>
                </a:lnTo>
                <a:lnTo>
                  <a:pt x="493" y="81"/>
                </a:lnTo>
                <a:lnTo>
                  <a:pt x="482" y="71"/>
                </a:lnTo>
                <a:lnTo>
                  <a:pt x="472" y="62"/>
                </a:lnTo>
                <a:lnTo>
                  <a:pt x="461" y="54"/>
                </a:lnTo>
                <a:lnTo>
                  <a:pt x="449" y="46"/>
                </a:lnTo>
                <a:lnTo>
                  <a:pt x="437" y="40"/>
                </a:lnTo>
                <a:lnTo>
                  <a:pt x="425" y="33"/>
                </a:lnTo>
                <a:lnTo>
                  <a:pt x="412" y="27"/>
                </a:lnTo>
                <a:lnTo>
                  <a:pt x="399" y="21"/>
                </a:lnTo>
                <a:lnTo>
                  <a:pt x="386" y="16"/>
                </a:lnTo>
                <a:lnTo>
                  <a:pt x="373" y="12"/>
                </a:lnTo>
                <a:lnTo>
                  <a:pt x="360" y="8"/>
                </a:lnTo>
                <a:lnTo>
                  <a:pt x="346" y="5"/>
                </a:lnTo>
                <a:lnTo>
                  <a:pt x="333" y="3"/>
                </a:lnTo>
                <a:lnTo>
                  <a:pt x="319" y="1"/>
                </a:lnTo>
                <a:lnTo>
                  <a:pt x="305" y="0"/>
                </a:lnTo>
                <a:lnTo>
                  <a:pt x="291" y="0"/>
                </a:lnTo>
                <a:lnTo>
                  <a:pt x="277" y="1"/>
                </a:lnTo>
                <a:lnTo>
                  <a:pt x="262" y="2"/>
                </a:lnTo>
                <a:lnTo>
                  <a:pt x="248" y="3"/>
                </a:lnTo>
                <a:lnTo>
                  <a:pt x="233" y="6"/>
                </a:lnTo>
                <a:lnTo>
                  <a:pt x="219" y="9"/>
                </a:lnTo>
                <a:lnTo>
                  <a:pt x="206" y="13"/>
                </a:lnTo>
                <a:lnTo>
                  <a:pt x="192" y="18"/>
                </a:lnTo>
                <a:lnTo>
                  <a:pt x="178" y="23"/>
                </a:lnTo>
                <a:lnTo>
                  <a:pt x="165" y="29"/>
                </a:lnTo>
                <a:lnTo>
                  <a:pt x="152" y="35"/>
                </a:lnTo>
                <a:lnTo>
                  <a:pt x="140" y="43"/>
                </a:lnTo>
                <a:lnTo>
                  <a:pt x="128" y="50"/>
                </a:lnTo>
                <a:lnTo>
                  <a:pt x="116" y="58"/>
                </a:lnTo>
                <a:lnTo>
                  <a:pt x="105" y="67"/>
                </a:lnTo>
                <a:lnTo>
                  <a:pt x="95" y="76"/>
                </a:lnTo>
                <a:lnTo>
                  <a:pt x="85" y="85"/>
                </a:lnTo>
                <a:lnTo>
                  <a:pt x="75" y="96"/>
                </a:lnTo>
                <a:lnTo>
                  <a:pt x="67" y="106"/>
                </a:lnTo>
                <a:lnTo>
                  <a:pt x="58" y="117"/>
                </a:lnTo>
                <a:lnTo>
                  <a:pt x="49" y="128"/>
                </a:lnTo>
                <a:lnTo>
                  <a:pt x="42" y="140"/>
                </a:lnTo>
                <a:lnTo>
                  <a:pt x="35" y="153"/>
                </a:lnTo>
                <a:lnTo>
                  <a:pt x="29" y="165"/>
                </a:lnTo>
                <a:lnTo>
                  <a:pt x="22" y="179"/>
                </a:lnTo>
                <a:lnTo>
                  <a:pt x="17" y="192"/>
                </a:lnTo>
                <a:lnTo>
                  <a:pt x="13" y="206"/>
                </a:lnTo>
                <a:lnTo>
                  <a:pt x="8" y="220"/>
                </a:lnTo>
                <a:lnTo>
                  <a:pt x="5" y="234"/>
                </a:lnTo>
                <a:lnTo>
                  <a:pt x="3" y="248"/>
                </a:lnTo>
                <a:lnTo>
                  <a:pt x="1" y="263"/>
                </a:lnTo>
                <a:lnTo>
                  <a:pt x="0" y="277"/>
                </a:lnTo>
                <a:lnTo>
                  <a:pt x="0" y="292"/>
                </a:lnTo>
                <a:lnTo>
                  <a:pt x="0" y="306"/>
                </a:lnTo>
                <a:lnTo>
                  <a:pt x="1" y="322"/>
                </a:lnTo>
                <a:lnTo>
                  <a:pt x="3" y="336"/>
                </a:lnTo>
                <a:lnTo>
                  <a:pt x="5" y="351"/>
                </a:lnTo>
                <a:lnTo>
                  <a:pt x="8" y="365"/>
                </a:lnTo>
                <a:lnTo>
                  <a:pt x="13" y="378"/>
                </a:lnTo>
                <a:lnTo>
                  <a:pt x="17" y="392"/>
                </a:lnTo>
                <a:lnTo>
                  <a:pt x="22" y="406"/>
                </a:lnTo>
                <a:lnTo>
                  <a:pt x="29" y="419"/>
                </a:lnTo>
                <a:lnTo>
                  <a:pt x="35" y="432"/>
                </a:lnTo>
                <a:lnTo>
                  <a:pt x="42" y="444"/>
                </a:lnTo>
                <a:lnTo>
                  <a:pt x="49" y="455"/>
                </a:lnTo>
                <a:lnTo>
                  <a:pt x="58" y="467"/>
                </a:lnTo>
                <a:lnTo>
                  <a:pt x="67" y="478"/>
                </a:lnTo>
                <a:lnTo>
                  <a:pt x="75" y="489"/>
                </a:lnTo>
                <a:lnTo>
                  <a:pt x="85" y="499"/>
                </a:lnTo>
                <a:lnTo>
                  <a:pt x="95" y="508"/>
                </a:lnTo>
                <a:lnTo>
                  <a:pt x="105" y="517"/>
                </a:lnTo>
                <a:lnTo>
                  <a:pt x="116" y="526"/>
                </a:lnTo>
                <a:lnTo>
                  <a:pt x="128" y="534"/>
                </a:lnTo>
                <a:lnTo>
                  <a:pt x="140" y="542"/>
                </a:lnTo>
                <a:lnTo>
                  <a:pt x="152" y="548"/>
                </a:lnTo>
                <a:lnTo>
                  <a:pt x="165" y="555"/>
                </a:lnTo>
                <a:lnTo>
                  <a:pt x="178" y="561"/>
                </a:lnTo>
                <a:lnTo>
                  <a:pt x="192" y="567"/>
                </a:lnTo>
                <a:lnTo>
                  <a:pt x="206" y="571"/>
                </a:lnTo>
                <a:lnTo>
                  <a:pt x="219" y="575"/>
                </a:lnTo>
                <a:lnTo>
                  <a:pt x="233" y="578"/>
                </a:lnTo>
                <a:lnTo>
                  <a:pt x="248" y="581"/>
                </a:lnTo>
                <a:lnTo>
                  <a:pt x="262" y="583"/>
                </a:lnTo>
                <a:lnTo>
                  <a:pt x="277" y="584"/>
                </a:lnTo>
                <a:lnTo>
                  <a:pt x="291" y="584"/>
                </a:lnTo>
                <a:lnTo>
                  <a:pt x="307" y="584"/>
                </a:lnTo>
                <a:lnTo>
                  <a:pt x="324" y="583"/>
                </a:lnTo>
                <a:lnTo>
                  <a:pt x="340" y="581"/>
                </a:lnTo>
                <a:lnTo>
                  <a:pt x="355" y="577"/>
                </a:lnTo>
                <a:lnTo>
                  <a:pt x="371" y="573"/>
                </a:lnTo>
                <a:lnTo>
                  <a:pt x="386" y="569"/>
                </a:lnTo>
                <a:lnTo>
                  <a:pt x="401" y="563"/>
                </a:lnTo>
                <a:lnTo>
                  <a:pt x="415" y="557"/>
                </a:lnTo>
                <a:lnTo>
                  <a:pt x="431" y="549"/>
                </a:lnTo>
                <a:lnTo>
                  <a:pt x="445" y="542"/>
                </a:lnTo>
                <a:lnTo>
                  <a:pt x="458" y="533"/>
                </a:lnTo>
                <a:lnTo>
                  <a:pt x="471" y="523"/>
                </a:lnTo>
                <a:lnTo>
                  <a:pt x="482" y="514"/>
                </a:lnTo>
                <a:lnTo>
                  <a:pt x="494" y="503"/>
                </a:lnTo>
                <a:lnTo>
                  <a:pt x="506" y="491"/>
                </a:lnTo>
                <a:lnTo>
                  <a:pt x="516" y="479"/>
                </a:lnTo>
                <a:lnTo>
                  <a:pt x="518" y="475"/>
                </a:lnTo>
                <a:lnTo>
                  <a:pt x="519" y="471"/>
                </a:lnTo>
                <a:lnTo>
                  <a:pt x="518" y="466"/>
                </a:lnTo>
                <a:lnTo>
                  <a:pt x="516" y="463"/>
                </a:lnTo>
                <a:lnTo>
                  <a:pt x="463" y="410"/>
                </a:lnTo>
                <a:lnTo>
                  <a:pt x="459" y="408"/>
                </a:lnTo>
                <a:lnTo>
                  <a:pt x="454" y="407"/>
                </a:lnTo>
                <a:lnTo>
                  <a:pt x="449" y="408"/>
                </a:lnTo>
                <a:lnTo>
                  <a:pt x="446" y="411"/>
                </a:lnTo>
                <a:lnTo>
                  <a:pt x="438" y="420"/>
                </a:lnTo>
                <a:lnTo>
                  <a:pt x="431" y="428"/>
                </a:lnTo>
                <a:lnTo>
                  <a:pt x="423" y="436"/>
                </a:lnTo>
                <a:lnTo>
                  <a:pt x="414" y="444"/>
                </a:lnTo>
                <a:lnTo>
                  <a:pt x="406" y="450"/>
                </a:lnTo>
                <a:lnTo>
                  <a:pt x="396" y="456"/>
                </a:lnTo>
                <a:lnTo>
                  <a:pt x="387" y="462"/>
                </a:lnTo>
                <a:lnTo>
                  <a:pt x="377" y="467"/>
                </a:lnTo>
                <a:lnTo>
                  <a:pt x="367" y="472"/>
                </a:lnTo>
                <a:lnTo>
                  <a:pt x="357" y="476"/>
                </a:lnTo>
                <a:lnTo>
                  <a:pt x="346" y="479"/>
                </a:lnTo>
                <a:lnTo>
                  <a:pt x="336" y="482"/>
                </a:lnTo>
                <a:lnTo>
                  <a:pt x="325" y="485"/>
                </a:lnTo>
                <a:lnTo>
                  <a:pt x="314" y="486"/>
                </a:lnTo>
                <a:lnTo>
                  <a:pt x="303" y="487"/>
                </a:lnTo>
                <a:lnTo>
                  <a:pt x="291" y="487"/>
                </a:lnTo>
                <a:lnTo>
                  <a:pt x="272" y="486"/>
                </a:lnTo>
                <a:lnTo>
                  <a:pt x="252" y="483"/>
                </a:lnTo>
                <a:lnTo>
                  <a:pt x="234" y="478"/>
                </a:lnTo>
                <a:lnTo>
                  <a:pt x="216" y="472"/>
                </a:lnTo>
                <a:lnTo>
                  <a:pt x="198" y="463"/>
                </a:lnTo>
                <a:lnTo>
                  <a:pt x="182" y="453"/>
                </a:lnTo>
                <a:lnTo>
                  <a:pt x="167" y="442"/>
                </a:lnTo>
                <a:lnTo>
                  <a:pt x="154" y="429"/>
                </a:lnTo>
                <a:lnTo>
                  <a:pt x="141" y="417"/>
                </a:lnTo>
                <a:lnTo>
                  <a:pt x="130" y="401"/>
                </a:lnTo>
                <a:lnTo>
                  <a:pt x="121" y="385"/>
                </a:lnTo>
                <a:lnTo>
                  <a:pt x="112" y="368"/>
                </a:lnTo>
                <a:lnTo>
                  <a:pt x="105" y="350"/>
                </a:lnTo>
                <a:lnTo>
                  <a:pt x="100" y="331"/>
                </a:lnTo>
                <a:lnTo>
                  <a:pt x="98" y="312"/>
                </a:lnTo>
                <a:lnTo>
                  <a:pt x="97" y="292"/>
                </a:lnTo>
                <a:lnTo>
                  <a:pt x="98" y="273"/>
                </a:lnTo>
                <a:lnTo>
                  <a:pt x="100" y="253"/>
                </a:lnTo>
                <a:lnTo>
                  <a:pt x="105" y="235"/>
                </a:lnTo>
                <a:lnTo>
                  <a:pt x="112" y="217"/>
                </a:lnTo>
                <a:lnTo>
                  <a:pt x="121" y="199"/>
                </a:lnTo>
                <a:lnTo>
                  <a:pt x="130" y="183"/>
                </a:lnTo>
                <a:lnTo>
                  <a:pt x="141" y="168"/>
                </a:lnTo>
                <a:lnTo>
                  <a:pt x="154" y="154"/>
                </a:lnTo>
                <a:lnTo>
                  <a:pt x="167" y="142"/>
                </a:lnTo>
                <a:lnTo>
                  <a:pt x="182" y="130"/>
                </a:lnTo>
                <a:lnTo>
                  <a:pt x="198" y="121"/>
                </a:lnTo>
                <a:lnTo>
                  <a:pt x="216" y="113"/>
                </a:lnTo>
                <a:lnTo>
                  <a:pt x="234" y="106"/>
                </a:lnTo>
                <a:lnTo>
                  <a:pt x="252" y="101"/>
                </a:lnTo>
                <a:lnTo>
                  <a:pt x="272" y="98"/>
                </a:lnTo>
                <a:lnTo>
                  <a:pt x="291" y="97"/>
                </a:lnTo>
                <a:lnTo>
                  <a:pt x="311" y="98"/>
                </a:lnTo>
                <a:lnTo>
                  <a:pt x="328" y="100"/>
                </a:lnTo>
                <a:lnTo>
                  <a:pt x="346" y="104"/>
                </a:lnTo>
                <a:lnTo>
                  <a:pt x="363" y="110"/>
                </a:lnTo>
                <a:lnTo>
                  <a:pt x="379" y="117"/>
                </a:lnTo>
                <a:lnTo>
                  <a:pt x="395" y="127"/>
                </a:lnTo>
                <a:lnTo>
                  <a:pt x="410" y="137"/>
                </a:lnTo>
                <a:lnTo>
                  <a:pt x="424" y="150"/>
                </a:lnTo>
                <a:lnTo>
                  <a:pt x="372" y="202"/>
                </a:lnTo>
                <a:lnTo>
                  <a:pt x="369" y="205"/>
                </a:lnTo>
                <a:lnTo>
                  <a:pt x="367" y="208"/>
                </a:lnTo>
                <a:lnTo>
                  <a:pt x="366" y="211"/>
                </a:lnTo>
                <a:lnTo>
                  <a:pt x="365" y="215"/>
                </a:lnTo>
                <a:lnTo>
                  <a:pt x="364" y="218"/>
                </a:lnTo>
                <a:lnTo>
                  <a:pt x="365" y="221"/>
                </a:lnTo>
                <a:lnTo>
                  <a:pt x="365" y="224"/>
                </a:lnTo>
                <a:lnTo>
                  <a:pt x="367" y="229"/>
                </a:lnTo>
                <a:lnTo>
                  <a:pt x="370" y="235"/>
                </a:lnTo>
                <a:lnTo>
                  <a:pt x="375" y="239"/>
                </a:lnTo>
                <a:lnTo>
                  <a:pt x="382" y="243"/>
                </a:lnTo>
                <a:lnTo>
                  <a:pt x="388" y="244"/>
                </a:lnTo>
                <a:lnTo>
                  <a:pt x="559" y="244"/>
                </a:lnTo>
                <a:lnTo>
                  <a:pt x="564" y="243"/>
                </a:lnTo>
                <a:lnTo>
                  <a:pt x="569" y="242"/>
                </a:lnTo>
                <a:lnTo>
                  <a:pt x="573" y="239"/>
                </a:lnTo>
                <a:lnTo>
                  <a:pt x="576" y="236"/>
                </a:lnTo>
                <a:lnTo>
                  <a:pt x="580" y="232"/>
                </a:lnTo>
                <a:lnTo>
                  <a:pt x="582" y="229"/>
                </a:lnTo>
                <a:lnTo>
                  <a:pt x="583" y="224"/>
                </a:lnTo>
                <a:lnTo>
                  <a:pt x="584" y="219"/>
                </a:lnTo>
                <a:lnTo>
                  <a:pt x="584" y="48"/>
                </a:lnTo>
                <a:lnTo>
                  <a:pt x="583" y="41"/>
                </a:lnTo>
                <a:lnTo>
                  <a:pt x="580" y="35"/>
                </a:lnTo>
                <a:lnTo>
                  <a:pt x="575" y="30"/>
                </a:lnTo>
                <a:lnTo>
                  <a:pt x="569" y="2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60265" y="3963226"/>
            <a:ext cx="2948069" cy="1384995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0"/>
              </a:spcBef>
            </a:pPr>
            <a:r>
              <a:rPr lang="fr-FR" dirty="0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Les gens qui s'orientent vers les différences se concentrent sur les détails jusqu'à ce qu'ils remarquent la différence</a:t>
            </a:r>
            <a:r>
              <a:rPr lang="en-US" dirty="0" smtClean="0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. </a:t>
            </a:r>
            <a:endParaRPr lang="ru-RU" dirty="0">
              <a:solidFill>
                <a:srgbClr val="17375E"/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83" name="Овал 82"/>
          <p:cNvSpPr/>
          <p:nvPr/>
        </p:nvSpPr>
        <p:spPr>
          <a:xfrm>
            <a:off x="6037115" y="2823496"/>
            <a:ext cx="379689" cy="37968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4" name="Freeform 140"/>
          <p:cNvSpPr>
            <a:spLocks/>
          </p:cNvSpPr>
          <p:nvPr/>
        </p:nvSpPr>
        <p:spPr bwMode="auto">
          <a:xfrm>
            <a:off x="6128358" y="2918525"/>
            <a:ext cx="197203" cy="188791"/>
          </a:xfrm>
          <a:custGeom>
            <a:avLst/>
            <a:gdLst>
              <a:gd name="T0" fmla="*/ 633 w 633"/>
              <a:gd name="T1" fmla="*/ 231 h 604"/>
              <a:gd name="T2" fmla="*/ 629 w 633"/>
              <a:gd name="T3" fmla="*/ 225 h 604"/>
              <a:gd name="T4" fmla="*/ 624 w 633"/>
              <a:gd name="T5" fmla="*/ 220 h 604"/>
              <a:gd name="T6" fmla="*/ 617 w 633"/>
              <a:gd name="T7" fmla="*/ 218 h 604"/>
              <a:gd name="T8" fmla="*/ 420 w 633"/>
              <a:gd name="T9" fmla="*/ 189 h 604"/>
              <a:gd name="T10" fmla="*/ 330 w 633"/>
              <a:gd name="T11" fmla="*/ 9 h 604"/>
              <a:gd name="T12" fmla="*/ 322 w 633"/>
              <a:gd name="T13" fmla="*/ 1 h 604"/>
              <a:gd name="T14" fmla="*/ 311 w 633"/>
              <a:gd name="T15" fmla="*/ 1 h 604"/>
              <a:gd name="T16" fmla="*/ 301 w 633"/>
              <a:gd name="T17" fmla="*/ 9 h 604"/>
              <a:gd name="T18" fmla="*/ 212 w 633"/>
              <a:gd name="T19" fmla="*/ 189 h 604"/>
              <a:gd name="T20" fmla="*/ 16 w 633"/>
              <a:gd name="T21" fmla="*/ 218 h 604"/>
              <a:gd name="T22" fmla="*/ 7 w 633"/>
              <a:gd name="T23" fmla="*/ 220 h 604"/>
              <a:gd name="T24" fmla="*/ 2 w 633"/>
              <a:gd name="T25" fmla="*/ 225 h 604"/>
              <a:gd name="T26" fmla="*/ 0 w 633"/>
              <a:gd name="T27" fmla="*/ 231 h 604"/>
              <a:gd name="T28" fmla="*/ 0 w 633"/>
              <a:gd name="T29" fmla="*/ 239 h 604"/>
              <a:gd name="T30" fmla="*/ 5 w 633"/>
              <a:gd name="T31" fmla="*/ 247 h 604"/>
              <a:gd name="T32" fmla="*/ 148 w 633"/>
              <a:gd name="T33" fmla="*/ 388 h 604"/>
              <a:gd name="T34" fmla="*/ 114 w 633"/>
              <a:gd name="T35" fmla="*/ 582 h 604"/>
              <a:gd name="T36" fmla="*/ 114 w 633"/>
              <a:gd name="T37" fmla="*/ 588 h 604"/>
              <a:gd name="T38" fmla="*/ 116 w 633"/>
              <a:gd name="T39" fmla="*/ 596 h 604"/>
              <a:gd name="T40" fmla="*/ 120 w 633"/>
              <a:gd name="T41" fmla="*/ 600 h 604"/>
              <a:gd name="T42" fmla="*/ 126 w 633"/>
              <a:gd name="T43" fmla="*/ 604 h 604"/>
              <a:gd name="T44" fmla="*/ 137 w 633"/>
              <a:gd name="T45" fmla="*/ 603 h 604"/>
              <a:gd name="T46" fmla="*/ 316 w 633"/>
              <a:gd name="T47" fmla="*/ 510 h 604"/>
              <a:gd name="T48" fmla="*/ 494 w 633"/>
              <a:gd name="T49" fmla="*/ 603 h 604"/>
              <a:gd name="T50" fmla="*/ 505 w 633"/>
              <a:gd name="T51" fmla="*/ 604 h 604"/>
              <a:gd name="T52" fmla="*/ 512 w 633"/>
              <a:gd name="T53" fmla="*/ 600 h 604"/>
              <a:gd name="T54" fmla="*/ 515 w 633"/>
              <a:gd name="T55" fmla="*/ 596 h 604"/>
              <a:gd name="T56" fmla="*/ 517 w 633"/>
              <a:gd name="T57" fmla="*/ 588 h 604"/>
              <a:gd name="T58" fmla="*/ 517 w 633"/>
              <a:gd name="T59" fmla="*/ 581 h 604"/>
              <a:gd name="T60" fmla="*/ 485 w 633"/>
              <a:gd name="T61" fmla="*/ 388 h 604"/>
              <a:gd name="T62" fmla="*/ 627 w 633"/>
              <a:gd name="T63" fmla="*/ 247 h 604"/>
              <a:gd name="T64" fmla="*/ 632 w 633"/>
              <a:gd name="T65" fmla="*/ 239 h 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33" h="604">
                <a:moveTo>
                  <a:pt x="633" y="234"/>
                </a:moveTo>
                <a:lnTo>
                  <a:pt x="633" y="231"/>
                </a:lnTo>
                <a:lnTo>
                  <a:pt x="632" y="228"/>
                </a:lnTo>
                <a:lnTo>
                  <a:pt x="629" y="225"/>
                </a:lnTo>
                <a:lnTo>
                  <a:pt x="627" y="222"/>
                </a:lnTo>
                <a:lnTo>
                  <a:pt x="624" y="220"/>
                </a:lnTo>
                <a:lnTo>
                  <a:pt x="621" y="219"/>
                </a:lnTo>
                <a:lnTo>
                  <a:pt x="617" y="218"/>
                </a:lnTo>
                <a:lnTo>
                  <a:pt x="611" y="217"/>
                </a:lnTo>
                <a:lnTo>
                  <a:pt x="420" y="189"/>
                </a:lnTo>
                <a:lnTo>
                  <a:pt x="335" y="16"/>
                </a:lnTo>
                <a:lnTo>
                  <a:pt x="330" y="9"/>
                </a:lnTo>
                <a:lnTo>
                  <a:pt x="326" y="4"/>
                </a:lnTo>
                <a:lnTo>
                  <a:pt x="322" y="1"/>
                </a:lnTo>
                <a:lnTo>
                  <a:pt x="316" y="0"/>
                </a:lnTo>
                <a:lnTo>
                  <a:pt x="311" y="1"/>
                </a:lnTo>
                <a:lnTo>
                  <a:pt x="305" y="4"/>
                </a:lnTo>
                <a:lnTo>
                  <a:pt x="301" y="9"/>
                </a:lnTo>
                <a:lnTo>
                  <a:pt x="297" y="16"/>
                </a:lnTo>
                <a:lnTo>
                  <a:pt x="212" y="189"/>
                </a:lnTo>
                <a:lnTo>
                  <a:pt x="20" y="217"/>
                </a:lnTo>
                <a:lnTo>
                  <a:pt x="16" y="218"/>
                </a:lnTo>
                <a:lnTo>
                  <a:pt x="12" y="219"/>
                </a:lnTo>
                <a:lnTo>
                  <a:pt x="7" y="220"/>
                </a:lnTo>
                <a:lnTo>
                  <a:pt x="5" y="222"/>
                </a:lnTo>
                <a:lnTo>
                  <a:pt x="2" y="225"/>
                </a:lnTo>
                <a:lnTo>
                  <a:pt x="1" y="228"/>
                </a:lnTo>
                <a:lnTo>
                  <a:pt x="0" y="231"/>
                </a:lnTo>
                <a:lnTo>
                  <a:pt x="0" y="234"/>
                </a:lnTo>
                <a:lnTo>
                  <a:pt x="0" y="239"/>
                </a:lnTo>
                <a:lnTo>
                  <a:pt x="2" y="243"/>
                </a:lnTo>
                <a:lnTo>
                  <a:pt x="5" y="247"/>
                </a:lnTo>
                <a:lnTo>
                  <a:pt x="8" y="253"/>
                </a:lnTo>
                <a:lnTo>
                  <a:pt x="148" y="388"/>
                </a:lnTo>
                <a:lnTo>
                  <a:pt x="114" y="578"/>
                </a:lnTo>
                <a:lnTo>
                  <a:pt x="114" y="582"/>
                </a:lnTo>
                <a:lnTo>
                  <a:pt x="114" y="585"/>
                </a:lnTo>
                <a:lnTo>
                  <a:pt x="114" y="588"/>
                </a:lnTo>
                <a:lnTo>
                  <a:pt x="115" y="593"/>
                </a:lnTo>
                <a:lnTo>
                  <a:pt x="116" y="596"/>
                </a:lnTo>
                <a:lnTo>
                  <a:pt x="118" y="598"/>
                </a:lnTo>
                <a:lnTo>
                  <a:pt x="120" y="600"/>
                </a:lnTo>
                <a:lnTo>
                  <a:pt x="123" y="603"/>
                </a:lnTo>
                <a:lnTo>
                  <a:pt x="126" y="604"/>
                </a:lnTo>
                <a:lnTo>
                  <a:pt x="129" y="604"/>
                </a:lnTo>
                <a:lnTo>
                  <a:pt x="137" y="603"/>
                </a:lnTo>
                <a:lnTo>
                  <a:pt x="146" y="599"/>
                </a:lnTo>
                <a:lnTo>
                  <a:pt x="316" y="510"/>
                </a:lnTo>
                <a:lnTo>
                  <a:pt x="487" y="599"/>
                </a:lnTo>
                <a:lnTo>
                  <a:pt x="494" y="603"/>
                </a:lnTo>
                <a:lnTo>
                  <a:pt x="502" y="604"/>
                </a:lnTo>
                <a:lnTo>
                  <a:pt x="505" y="604"/>
                </a:lnTo>
                <a:lnTo>
                  <a:pt x="509" y="603"/>
                </a:lnTo>
                <a:lnTo>
                  <a:pt x="512" y="600"/>
                </a:lnTo>
                <a:lnTo>
                  <a:pt x="514" y="598"/>
                </a:lnTo>
                <a:lnTo>
                  <a:pt x="515" y="596"/>
                </a:lnTo>
                <a:lnTo>
                  <a:pt x="517" y="593"/>
                </a:lnTo>
                <a:lnTo>
                  <a:pt x="517" y="588"/>
                </a:lnTo>
                <a:lnTo>
                  <a:pt x="517" y="585"/>
                </a:lnTo>
                <a:lnTo>
                  <a:pt x="517" y="581"/>
                </a:lnTo>
                <a:lnTo>
                  <a:pt x="517" y="578"/>
                </a:lnTo>
                <a:lnTo>
                  <a:pt x="485" y="388"/>
                </a:lnTo>
                <a:lnTo>
                  <a:pt x="623" y="253"/>
                </a:lnTo>
                <a:lnTo>
                  <a:pt x="627" y="247"/>
                </a:lnTo>
                <a:lnTo>
                  <a:pt x="631" y="243"/>
                </a:lnTo>
                <a:lnTo>
                  <a:pt x="632" y="239"/>
                </a:lnTo>
                <a:lnTo>
                  <a:pt x="633" y="23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5108032" y="4485193"/>
            <a:ext cx="3731167" cy="769441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dirty="0">
                <a:solidFill>
                  <a:srgbClr val="17375E"/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Les gens qui se déplacent vers les similitudes se concentrent sur l'image dans son intégralité.</a:t>
            </a:r>
          </a:p>
        </p:txBody>
      </p:sp>
      <p:sp>
        <p:nvSpPr>
          <p:cNvPr id="89" name="Овал 88"/>
          <p:cNvSpPr/>
          <p:nvPr/>
        </p:nvSpPr>
        <p:spPr>
          <a:xfrm>
            <a:off x="6037115" y="4082953"/>
            <a:ext cx="379689" cy="37968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cxnSp>
        <p:nvCxnSpPr>
          <p:cNvPr id="93" name="Прямая соединительная линия 92"/>
          <p:cNvCxnSpPr/>
          <p:nvPr/>
        </p:nvCxnSpPr>
        <p:spPr>
          <a:xfrm>
            <a:off x="3113465" y="3522446"/>
            <a:ext cx="40088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Овал 75"/>
          <p:cNvSpPr/>
          <p:nvPr/>
        </p:nvSpPr>
        <p:spPr>
          <a:xfrm>
            <a:off x="2830179" y="3334077"/>
            <a:ext cx="379689" cy="37968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8" name="Freeform 38"/>
          <p:cNvSpPr>
            <a:spLocks/>
          </p:cNvSpPr>
          <p:nvPr/>
        </p:nvSpPr>
        <p:spPr bwMode="auto">
          <a:xfrm>
            <a:off x="2951777" y="3453825"/>
            <a:ext cx="141126" cy="140191"/>
          </a:xfrm>
          <a:custGeom>
            <a:avLst/>
            <a:gdLst>
              <a:gd name="T0" fmla="*/ 441 w 452"/>
              <a:gd name="T1" fmla="*/ 114 h 452"/>
              <a:gd name="T2" fmla="*/ 449 w 452"/>
              <a:gd name="T3" fmla="*/ 102 h 452"/>
              <a:gd name="T4" fmla="*/ 452 w 452"/>
              <a:gd name="T5" fmla="*/ 88 h 452"/>
              <a:gd name="T6" fmla="*/ 449 w 452"/>
              <a:gd name="T7" fmla="*/ 74 h 452"/>
              <a:gd name="T8" fmla="*/ 441 w 452"/>
              <a:gd name="T9" fmla="*/ 62 h 452"/>
              <a:gd name="T10" fmla="*/ 383 w 452"/>
              <a:gd name="T11" fmla="*/ 6 h 452"/>
              <a:gd name="T12" fmla="*/ 371 w 452"/>
              <a:gd name="T13" fmla="*/ 1 h 452"/>
              <a:gd name="T14" fmla="*/ 356 w 452"/>
              <a:gd name="T15" fmla="*/ 1 h 452"/>
              <a:gd name="T16" fmla="*/ 344 w 452"/>
              <a:gd name="T17" fmla="*/ 6 h 452"/>
              <a:gd name="T18" fmla="*/ 226 w 452"/>
              <a:gd name="T19" fmla="*/ 123 h 452"/>
              <a:gd name="T20" fmla="*/ 108 w 452"/>
              <a:gd name="T21" fmla="*/ 6 h 452"/>
              <a:gd name="T22" fmla="*/ 95 w 452"/>
              <a:gd name="T23" fmla="*/ 1 h 452"/>
              <a:gd name="T24" fmla="*/ 81 w 452"/>
              <a:gd name="T25" fmla="*/ 1 h 452"/>
              <a:gd name="T26" fmla="*/ 68 w 452"/>
              <a:gd name="T27" fmla="*/ 6 h 452"/>
              <a:gd name="T28" fmla="*/ 10 w 452"/>
              <a:gd name="T29" fmla="*/ 62 h 452"/>
              <a:gd name="T30" fmla="*/ 2 w 452"/>
              <a:gd name="T31" fmla="*/ 74 h 452"/>
              <a:gd name="T32" fmla="*/ 0 w 452"/>
              <a:gd name="T33" fmla="*/ 88 h 452"/>
              <a:gd name="T34" fmla="*/ 2 w 452"/>
              <a:gd name="T35" fmla="*/ 102 h 452"/>
              <a:gd name="T36" fmla="*/ 10 w 452"/>
              <a:gd name="T37" fmla="*/ 114 h 452"/>
              <a:gd name="T38" fmla="*/ 10 w 452"/>
              <a:gd name="T39" fmla="*/ 338 h 452"/>
              <a:gd name="T40" fmla="*/ 2 w 452"/>
              <a:gd name="T41" fmla="*/ 349 h 452"/>
              <a:gd name="T42" fmla="*/ 0 w 452"/>
              <a:gd name="T43" fmla="*/ 363 h 452"/>
              <a:gd name="T44" fmla="*/ 2 w 452"/>
              <a:gd name="T45" fmla="*/ 378 h 452"/>
              <a:gd name="T46" fmla="*/ 10 w 452"/>
              <a:gd name="T47" fmla="*/ 389 h 452"/>
              <a:gd name="T48" fmla="*/ 68 w 452"/>
              <a:gd name="T49" fmla="*/ 447 h 452"/>
              <a:gd name="T50" fmla="*/ 81 w 452"/>
              <a:gd name="T51" fmla="*/ 451 h 452"/>
              <a:gd name="T52" fmla="*/ 95 w 452"/>
              <a:gd name="T53" fmla="*/ 451 h 452"/>
              <a:gd name="T54" fmla="*/ 108 w 452"/>
              <a:gd name="T55" fmla="*/ 447 h 452"/>
              <a:gd name="T56" fmla="*/ 226 w 452"/>
              <a:gd name="T57" fmla="*/ 330 h 452"/>
              <a:gd name="T58" fmla="*/ 344 w 452"/>
              <a:gd name="T59" fmla="*/ 447 h 452"/>
              <a:gd name="T60" fmla="*/ 356 w 452"/>
              <a:gd name="T61" fmla="*/ 451 h 452"/>
              <a:gd name="T62" fmla="*/ 371 w 452"/>
              <a:gd name="T63" fmla="*/ 451 h 452"/>
              <a:gd name="T64" fmla="*/ 383 w 452"/>
              <a:gd name="T65" fmla="*/ 447 h 452"/>
              <a:gd name="T66" fmla="*/ 441 w 452"/>
              <a:gd name="T67" fmla="*/ 389 h 452"/>
              <a:gd name="T68" fmla="*/ 449 w 452"/>
              <a:gd name="T69" fmla="*/ 378 h 452"/>
              <a:gd name="T70" fmla="*/ 452 w 452"/>
              <a:gd name="T71" fmla="*/ 363 h 452"/>
              <a:gd name="T72" fmla="*/ 449 w 452"/>
              <a:gd name="T73" fmla="*/ 349 h 452"/>
              <a:gd name="T74" fmla="*/ 441 w 452"/>
              <a:gd name="T75" fmla="*/ 338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52" h="452">
                <a:moveTo>
                  <a:pt x="329" y="226"/>
                </a:moveTo>
                <a:lnTo>
                  <a:pt x="441" y="114"/>
                </a:lnTo>
                <a:lnTo>
                  <a:pt x="446" y="109"/>
                </a:lnTo>
                <a:lnTo>
                  <a:pt x="449" y="102"/>
                </a:lnTo>
                <a:lnTo>
                  <a:pt x="450" y="96"/>
                </a:lnTo>
                <a:lnTo>
                  <a:pt x="452" y="88"/>
                </a:lnTo>
                <a:lnTo>
                  <a:pt x="450" y="81"/>
                </a:lnTo>
                <a:lnTo>
                  <a:pt x="449" y="74"/>
                </a:lnTo>
                <a:lnTo>
                  <a:pt x="446" y="68"/>
                </a:lnTo>
                <a:lnTo>
                  <a:pt x="441" y="62"/>
                </a:lnTo>
                <a:lnTo>
                  <a:pt x="389" y="10"/>
                </a:lnTo>
                <a:lnTo>
                  <a:pt x="383" y="6"/>
                </a:lnTo>
                <a:lnTo>
                  <a:pt x="377" y="3"/>
                </a:lnTo>
                <a:lnTo>
                  <a:pt x="371" y="1"/>
                </a:lnTo>
                <a:lnTo>
                  <a:pt x="363" y="0"/>
                </a:lnTo>
                <a:lnTo>
                  <a:pt x="356" y="1"/>
                </a:lnTo>
                <a:lnTo>
                  <a:pt x="349" y="3"/>
                </a:lnTo>
                <a:lnTo>
                  <a:pt x="344" y="6"/>
                </a:lnTo>
                <a:lnTo>
                  <a:pt x="337" y="10"/>
                </a:lnTo>
                <a:lnTo>
                  <a:pt x="226" y="123"/>
                </a:lnTo>
                <a:lnTo>
                  <a:pt x="113" y="10"/>
                </a:lnTo>
                <a:lnTo>
                  <a:pt x="108" y="6"/>
                </a:lnTo>
                <a:lnTo>
                  <a:pt x="102" y="3"/>
                </a:lnTo>
                <a:lnTo>
                  <a:pt x="95" y="1"/>
                </a:lnTo>
                <a:lnTo>
                  <a:pt x="88" y="0"/>
                </a:lnTo>
                <a:lnTo>
                  <a:pt x="81" y="1"/>
                </a:lnTo>
                <a:lnTo>
                  <a:pt x="74" y="3"/>
                </a:lnTo>
                <a:lnTo>
                  <a:pt x="68" y="6"/>
                </a:lnTo>
                <a:lnTo>
                  <a:pt x="62" y="10"/>
                </a:lnTo>
                <a:lnTo>
                  <a:pt x="10" y="62"/>
                </a:lnTo>
                <a:lnTo>
                  <a:pt x="5" y="68"/>
                </a:lnTo>
                <a:lnTo>
                  <a:pt x="2" y="74"/>
                </a:lnTo>
                <a:lnTo>
                  <a:pt x="0" y="81"/>
                </a:lnTo>
                <a:lnTo>
                  <a:pt x="0" y="88"/>
                </a:lnTo>
                <a:lnTo>
                  <a:pt x="0" y="96"/>
                </a:lnTo>
                <a:lnTo>
                  <a:pt x="2" y="102"/>
                </a:lnTo>
                <a:lnTo>
                  <a:pt x="5" y="109"/>
                </a:lnTo>
                <a:lnTo>
                  <a:pt x="10" y="114"/>
                </a:lnTo>
                <a:lnTo>
                  <a:pt x="122" y="226"/>
                </a:lnTo>
                <a:lnTo>
                  <a:pt x="10" y="338"/>
                </a:lnTo>
                <a:lnTo>
                  <a:pt x="5" y="344"/>
                </a:lnTo>
                <a:lnTo>
                  <a:pt x="2" y="349"/>
                </a:lnTo>
                <a:lnTo>
                  <a:pt x="0" y="357"/>
                </a:lnTo>
                <a:lnTo>
                  <a:pt x="0" y="363"/>
                </a:lnTo>
                <a:lnTo>
                  <a:pt x="0" y="371"/>
                </a:lnTo>
                <a:lnTo>
                  <a:pt x="2" y="378"/>
                </a:lnTo>
                <a:lnTo>
                  <a:pt x="5" y="384"/>
                </a:lnTo>
                <a:lnTo>
                  <a:pt x="10" y="389"/>
                </a:lnTo>
                <a:lnTo>
                  <a:pt x="62" y="441"/>
                </a:lnTo>
                <a:lnTo>
                  <a:pt x="68" y="447"/>
                </a:lnTo>
                <a:lnTo>
                  <a:pt x="74" y="450"/>
                </a:lnTo>
                <a:lnTo>
                  <a:pt x="81" y="451"/>
                </a:lnTo>
                <a:lnTo>
                  <a:pt x="88" y="452"/>
                </a:lnTo>
                <a:lnTo>
                  <a:pt x="95" y="451"/>
                </a:lnTo>
                <a:lnTo>
                  <a:pt x="102" y="450"/>
                </a:lnTo>
                <a:lnTo>
                  <a:pt x="108" y="447"/>
                </a:lnTo>
                <a:lnTo>
                  <a:pt x="113" y="441"/>
                </a:lnTo>
                <a:lnTo>
                  <a:pt x="226" y="330"/>
                </a:lnTo>
                <a:lnTo>
                  <a:pt x="337" y="441"/>
                </a:lnTo>
                <a:lnTo>
                  <a:pt x="344" y="447"/>
                </a:lnTo>
                <a:lnTo>
                  <a:pt x="349" y="450"/>
                </a:lnTo>
                <a:lnTo>
                  <a:pt x="356" y="451"/>
                </a:lnTo>
                <a:lnTo>
                  <a:pt x="363" y="452"/>
                </a:lnTo>
                <a:lnTo>
                  <a:pt x="371" y="451"/>
                </a:lnTo>
                <a:lnTo>
                  <a:pt x="377" y="450"/>
                </a:lnTo>
                <a:lnTo>
                  <a:pt x="383" y="447"/>
                </a:lnTo>
                <a:lnTo>
                  <a:pt x="389" y="441"/>
                </a:lnTo>
                <a:lnTo>
                  <a:pt x="441" y="389"/>
                </a:lnTo>
                <a:lnTo>
                  <a:pt x="446" y="384"/>
                </a:lnTo>
                <a:lnTo>
                  <a:pt x="449" y="378"/>
                </a:lnTo>
                <a:lnTo>
                  <a:pt x="450" y="371"/>
                </a:lnTo>
                <a:lnTo>
                  <a:pt x="452" y="363"/>
                </a:lnTo>
                <a:lnTo>
                  <a:pt x="450" y="357"/>
                </a:lnTo>
                <a:lnTo>
                  <a:pt x="449" y="349"/>
                </a:lnTo>
                <a:lnTo>
                  <a:pt x="446" y="344"/>
                </a:lnTo>
                <a:lnTo>
                  <a:pt x="441" y="338"/>
                </a:lnTo>
                <a:lnTo>
                  <a:pt x="329" y="22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29" name="Freeform 88"/>
          <p:cNvSpPr>
            <a:spLocks noEditPoints="1"/>
          </p:cNvSpPr>
          <p:nvPr/>
        </p:nvSpPr>
        <p:spPr bwMode="auto">
          <a:xfrm>
            <a:off x="6116898" y="4179385"/>
            <a:ext cx="208090" cy="208090"/>
          </a:xfrm>
          <a:custGeom>
            <a:avLst/>
            <a:gdLst>
              <a:gd name="T0" fmla="*/ 613 w 622"/>
              <a:gd name="T1" fmla="*/ 1 h 621"/>
              <a:gd name="T2" fmla="*/ 609 w 622"/>
              <a:gd name="T3" fmla="*/ 0 h 621"/>
              <a:gd name="T4" fmla="*/ 561 w 622"/>
              <a:gd name="T5" fmla="*/ 1 h 621"/>
              <a:gd name="T6" fmla="*/ 518 w 622"/>
              <a:gd name="T7" fmla="*/ 6 h 621"/>
              <a:gd name="T8" fmla="*/ 479 w 622"/>
              <a:gd name="T9" fmla="*/ 15 h 621"/>
              <a:gd name="T10" fmla="*/ 444 w 622"/>
              <a:gd name="T11" fmla="*/ 27 h 621"/>
              <a:gd name="T12" fmla="*/ 412 w 622"/>
              <a:gd name="T13" fmla="*/ 43 h 621"/>
              <a:gd name="T14" fmla="*/ 378 w 622"/>
              <a:gd name="T15" fmla="*/ 64 h 621"/>
              <a:gd name="T16" fmla="*/ 344 w 622"/>
              <a:gd name="T17" fmla="*/ 91 h 621"/>
              <a:gd name="T18" fmla="*/ 308 w 622"/>
              <a:gd name="T19" fmla="*/ 125 h 621"/>
              <a:gd name="T20" fmla="*/ 276 w 622"/>
              <a:gd name="T21" fmla="*/ 158 h 621"/>
              <a:gd name="T22" fmla="*/ 241 w 622"/>
              <a:gd name="T23" fmla="*/ 198 h 621"/>
              <a:gd name="T24" fmla="*/ 95 w 622"/>
              <a:gd name="T25" fmla="*/ 207 h 621"/>
              <a:gd name="T26" fmla="*/ 89 w 622"/>
              <a:gd name="T27" fmla="*/ 210 h 621"/>
              <a:gd name="T28" fmla="*/ 2 w 622"/>
              <a:gd name="T29" fmla="*/ 358 h 621"/>
              <a:gd name="T30" fmla="*/ 0 w 622"/>
              <a:gd name="T31" fmla="*/ 365 h 621"/>
              <a:gd name="T32" fmla="*/ 4 w 622"/>
              <a:gd name="T33" fmla="*/ 373 h 621"/>
              <a:gd name="T34" fmla="*/ 32 w 622"/>
              <a:gd name="T35" fmla="*/ 400 h 621"/>
              <a:gd name="T36" fmla="*/ 38 w 622"/>
              <a:gd name="T37" fmla="*/ 401 h 621"/>
              <a:gd name="T38" fmla="*/ 145 w 622"/>
              <a:gd name="T39" fmla="*/ 369 h 621"/>
              <a:gd name="T40" fmla="*/ 220 w 622"/>
              <a:gd name="T41" fmla="*/ 581 h 621"/>
              <a:gd name="T42" fmla="*/ 220 w 622"/>
              <a:gd name="T43" fmla="*/ 587 h 621"/>
              <a:gd name="T44" fmla="*/ 223 w 622"/>
              <a:gd name="T45" fmla="*/ 592 h 621"/>
              <a:gd name="T46" fmla="*/ 251 w 622"/>
              <a:gd name="T47" fmla="*/ 619 h 621"/>
              <a:gd name="T48" fmla="*/ 260 w 622"/>
              <a:gd name="T49" fmla="*/ 619 h 621"/>
              <a:gd name="T50" fmla="*/ 408 w 622"/>
              <a:gd name="T51" fmla="*/ 533 h 621"/>
              <a:gd name="T52" fmla="*/ 412 w 622"/>
              <a:gd name="T53" fmla="*/ 529 h 621"/>
              <a:gd name="T54" fmla="*/ 414 w 622"/>
              <a:gd name="T55" fmla="*/ 523 h 621"/>
              <a:gd name="T56" fmla="*/ 443 w 622"/>
              <a:gd name="T57" fmla="*/ 361 h 621"/>
              <a:gd name="T58" fmla="*/ 480 w 622"/>
              <a:gd name="T59" fmla="*/ 328 h 621"/>
              <a:gd name="T60" fmla="*/ 513 w 622"/>
              <a:gd name="T61" fmla="*/ 296 h 621"/>
              <a:gd name="T62" fmla="*/ 542 w 622"/>
              <a:gd name="T63" fmla="*/ 261 h 621"/>
              <a:gd name="T64" fmla="*/ 565 w 622"/>
              <a:gd name="T65" fmla="*/ 227 h 621"/>
              <a:gd name="T66" fmla="*/ 585 w 622"/>
              <a:gd name="T67" fmla="*/ 193 h 621"/>
              <a:gd name="T68" fmla="*/ 599 w 622"/>
              <a:gd name="T69" fmla="*/ 157 h 621"/>
              <a:gd name="T70" fmla="*/ 610 w 622"/>
              <a:gd name="T71" fmla="*/ 120 h 621"/>
              <a:gd name="T72" fmla="*/ 617 w 622"/>
              <a:gd name="T73" fmla="*/ 80 h 621"/>
              <a:gd name="T74" fmla="*/ 621 w 622"/>
              <a:gd name="T75" fmla="*/ 35 h 621"/>
              <a:gd name="T76" fmla="*/ 621 w 622"/>
              <a:gd name="T77" fmla="*/ 7 h 621"/>
              <a:gd name="T78" fmla="*/ 525 w 622"/>
              <a:gd name="T79" fmla="*/ 147 h 621"/>
              <a:gd name="T80" fmla="*/ 514 w 622"/>
              <a:gd name="T81" fmla="*/ 155 h 621"/>
              <a:gd name="T82" fmla="*/ 500 w 622"/>
              <a:gd name="T83" fmla="*/ 157 h 621"/>
              <a:gd name="T84" fmla="*/ 486 w 622"/>
              <a:gd name="T85" fmla="*/ 155 h 621"/>
              <a:gd name="T86" fmla="*/ 474 w 622"/>
              <a:gd name="T87" fmla="*/ 147 h 621"/>
              <a:gd name="T88" fmla="*/ 466 w 622"/>
              <a:gd name="T89" fmla="*/ 136 h 621"/>
              <a:gd name="T90" fmla="*/ 463 w 622"/>
              <a:gd name="T91" fmla="*/ 122 h 621"/>
              <a:gd name="T92" fmla="*/ 466 w 622"/>
              <a:gd name="T93" fmla="*/ 107 h 621"/>
              <a:gd name="T94" fmla="*/ 474 w 622"/>
              <a:gd name="T95" fmla="*/ 96 h 621"/>
              <a:gd name="T96" fmla="*/ 486 w 622"/>
              <a:gd name="T97" fmla="*/ 87 h 621"/>
              <a:gd name="T98" fmla="*/ 500 w 622"/>
              <a:gd name="T99" fmla="*/ 85 h 621"/>
              <a:gd name="T100" fmla="*/ 514 w 622"/>
              <a:gd name="T101" fmla="*/ 87 h 621"/>
              <a:gd name="T102" fmla="*/ 525 w 622"/>
              <a:gd name="T103" fmla="*/ 96 h 621"/>
              <a:gd name="T104" fmla="*/ 533 w 622"/>
              <a:gd name="T105" fmla="*/ 107 h 621"/>
              <a:gd name="T106" fmla="*/ 536 w 622"/>
              <a:gd name="T107" fmla="*/ 122 h 621"/>
              <a:gd name="T108" fmla="*/ 533 w 622"/>
              <a:gd name="T109" fmla="*/ 136 h 621"/>
              <a:gd name="T110" fmla="*/ 525 w 622"/>
              <a:gd name="T111" fmla="*/ 147 h 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22" h="621">
                <a:moveTo>
                  <a:pt x="617" y="3"/>
                </a:moveTo>
                <a:lnTo>
                  <a:pt x="613" y="1"/>
                </a:lnTo>
                <a:lnTo>
                  <a:pt x="609" y="0"/>
                </a:lnTo>
                <a:lnTo>
                  <a:pt x="609" y="0"/>
                </a:lnTo>
                <a:lnTo>
                  <a:pt x="584" y="0"/>
                </a:lnTo>
                <a:lnTo>
                  <a:pt x="561" y="1"/>
                </a:lnTo>
                <a:lnTo>
                  <a:pt x="538" y="3"/>
                </a:lnTo>
                <a:lnTo>
                  <a:pt x="518" y="6"/>
                </a:lnTo>
                <a:lnTo>
                  <a:pt x="497" y="10"/>
                </a:lnTo>
                <a:lnTo>
                  <a:pt x="479" y="15"/>
                </a:lnTo>
                <a:lnTo>
                  <a:pt x="461" y="20"/>
                </a:lnTo>
                <a:lnTo>
                  <a:pt x="444" y="27"/>
                </a:lnTo>
                <a:lnTo>
                  <a:pt x="428" y="34"/>
                </a:lnTo>
                <a:lnTo>
                  <a:pt x="412" y="43"/>
                </a:lnTo>
                <a:lnTo>
                  <a:pt x="395" y="53"/>
                </a:lnTo>
                <a:lnTo>
                  <a:pt x="378" y="64"/>
                </a:lnTo>
                <a:lnTo>
                  <a:pt x="361" y="77"/>
                </a:lnTo>
                <a:lnTo>
                  <a:pt x="344" y="91"/>
                </a:lnTo>
                <a:lnTo>
                  <a:pt x="326" y="108"/>
                </a:lnTo>
                <a:lnTo>
                  <a:pt x="308" y="125"/>
                </a:lnTo>
                <a:lnTo>
                  <a:pt x="292" y="141"/>
                </a:lnTo>
                <a:lnTo>
                  <a:pt x="276" y="158"/>
                </a:lnTo>
                <a:lnTo>
                  <a:pt x="259" y="178"/>
                </a:lnTo>
                <a:lnTo>
                  <a:pt x="241" y="198"/>
                </a:lnTo>
                <a:lnTo>
                  <a:pt x="97" y="206"/>
                </a:lnTo>
                <a:lnTo>
                  <a:pt x="95" y="207"/>
                </a:lnTo>
                <a:lnTo>
                  <a:pt x="91" y="208"/>
                </a:lnTo>
                <a:lnTo>
                  <a:pt x="89" y="210"/>
                </a:lnTo>
                <a:lnTo>
                  <a:pt x="87" y="212"/>
                </a:lnTo>
                <a:lnTo>
                  <a:pt x="2" y="358"/>
                </a:lnTo>
                <a:lnTo>
                  <a:pt x="1" y="361"/>
                </a:lnTo>
                <a:lnTo>
                  <a:pt x="0" y="365"/>
                </a:lnTo>
                <a:lnTo>
                  <a:pt x="1" y="369"/>
                </a:lnTo>
                <a:lnTo>
                  <a:pt x="4" y="373"/>
                </a:lnTo>
                <a:lnTo>
                  <a:pt x="29" y="398"/>
                </a:lnTo>
                <a:lnTo>
                  <a:pt x="32" y="400"/>
                </a:lnTo>
                <a:lnTo>
                  <a:pt x="37" y="401"/>
                </a:lnTo>
                <a:lnTo>
                  <a:pt x="38" y="401"/>
                </a:lnTo>
                <a:lnTo>
                  <a:pt x="41" y="400"/>
                </a:lnTo>
                <a:lnTo>
                  <a:pt x="145" y="369"/>
                </a:lnTo>
                <a:lnTo>
                  <a:pt x="252" y="476"/>
                </a:lnTo>
                <a:lnTo>
                  <a:pt x="220" y="581"/>
                </a:lnTo>
                <a:lnTo>
                  <a:pt x="220" y="584"/>
                </a:lnTo>
                <a:lnTo>
                  <a:pt x="220" y="587"/>
                </a:lnTo>
                <a:lnTo>
                  <a:pt x="221" y="590"/>
                </a:lnTo>
                <a:lnTo>
                  <a:pt x="223" y="592"/>
                </a:lnTo>
                <a:lnTo>
                  <a:pt x="247" y="617"/>
                </a:lnTo>
                <a:lnTo>
                  <a:pt x="251" y="619"/>
                </a:lnTo>
                <a:lnTo>
                  <a:pt x="257" y="621"/>
                </a:lnTo>
                <a:lnTo>
                  <a:pt x="260" y="619"/>
                </a:lnTo>
                <a:lnTo>
                  <a:pt x="262" y="618"/>
                </a:lnTo>
                <a:lnTo>
                  <a:pt x="408" y="533"/>
                </a:lnTo>
                <a:lnTo>
                  <a:pt x="411" y="532"/>
                </a:lnTo>
                <a:lnTo>
                  <a:pt x="412" y="529"/>
                </a:lnTo>
                <a:lnTo>
                  <a:pt x="413" y="527"/>
                </a:lnTo>
                <a:lnTo>
                  <a:pt x="414" y="523"/>
                </a:lnTo>
                <a:lnTo>
                  <a:pt x="422" y="380"/>
                </a:lnTo>
                <a:lnTo>
                  <a:pt x="443" y="361"/>
                </a:lnTo>
                <a:lnTo>
                  <a:pt x="462" y="344"/>
                </a:lnTo>
                <a:lnTo>
                  <a:pt x="480" y="328"/>
                </a:lnTo>
                <a:lnTo>
                  <a:pt x="496" y="313"/>
                </a:lnTo>
                <a:lnTo>
                  <a:pt x="513" y="296"/>
                </a:lnTo>
                <a:lnTo>
                  <a:pt x="528" y="278"/>
                </a:lnTo>
                <a:lnTo>
                  <a:pt x="542" y="261"/>
                </a:lnTo>
                <a:lnTo>
                  <a:pt x="555" y="244"/>
                </a:lnTo>
                <a:lnTo>
                  <a:pt x="565" y="227"/>
                </a:lnTo>
                <a:lnTo>
                  <a:pt x="576" y="210"/>
                </a:lnTo>
                <a:lnTo>
                  <a:pt x="585" y="193"/>
                </a:lnTo>
                <a:lnTo>
                  <a:pt x="592" y="176"/>
                </a:lnTo>
                <a:lnTo>
                  <a:pt x="599" y="157"/>
                </a:lnTo>
                <a:lnTo>
                  <a:pt x="605" y="139"/>
                </a:lnTo>
                <a:lnTo>
                  <a:pt x="610" y="120"/>
                </a:lnTo>
                <a:lnTo>
                  <a:pt x="614" y="100"/>
                </a:lnTo>
                <a:lnTo>
                  <a:pt x="617" y="80"/>
                </a:lnTo>
                <a:lnTo>
                  <a:pt x="619" y="57"/>
                </a:lnTo>
                <a:lnTo>
                  <a:pt x="621" y="35"/>
                </a:lnTo>
                <a:lnTo>
                  <a:pt x="622" y="12"/>
                </a:lnTo>
                <a:lnTo>
                  <a:pt x="621" y="7"/>
                </a:lnTo>
                <a:lnTo>
                  <a:pt x="617" y="3"/>
                </a:lnTo>
                <a:close/>
                <a:moveTo>
                  <a:pt x="525" y="147"/>
                </a:moveTo>
                <a:lnTo>
                  <a:pt x="520" y="152"/>
                </a:lnTo>
                <a:lnTo>
                  <a:pt x="514" y="155"/>
                </a:lnTo>
                <a:lnTo>
                  <a:pt x="507" y="157"/>
                </a:lnTo>
                <a:lnTo>
                  <a:pt x="500" y="157"/>
                </a:lnTo>
                <a:lnTo>
                  <a:pt x="492" y="157"/>
                </a:lnTo>
                <a:lnTo>
                  <a:pt x="486" y="155"/>
                </a:lnTo>
                <a:lnTo>
                  <a:pt x="479" y="152"/>
                </a:lnTo>
                <a:lnTo>
                  <a:pt x="474" y="147"/>
                </a:lnTo>
                <a:lnTo>
                  <a:pt x="469" y="141"/>
                </a:lnTo>
                <a:lnTo>
                  <a:pt x="466" y="136"/>
                </a:lnTo>
                <a:lnTo>
                  <a:pt x="464" y="128"/>
                </a:lnTo>
                <a:lnTo>
                  <a:pt x="463" y="122"/>
                </a:lnTo>
                <a:lnTo>
                  <a:pt x="464" y="114"/>
                </a:lnTo>
                <a:lnTo>
                  <a:pt x="466" y="107"/>
                </a:lnTo>
                <a:lnTo>
                  <a:pt x="469" y="101"/>
                </a:lnTo>
                <a:lnTo>
                  <a:pt x="474" y="96"/>
                </a:lnTo>
                <a:lnTo>
                  <a:pt x="479" y="90"/>
                </a:lnTo>
                <a:lnTo>
                  <a:pt x="486" y="87"/>
                </a:lnTo>
                <a:lnTo>
                  <a:pt x="492" y="85"/>
                </a:lnTo>
                <a:lnTo>
                  <a:pt x="500" y="85"/>
                </a:lnTo>
                <a:lnTo>
                  <a:pt x="507" y="85"/>
                </a:lnTo>
                <a:lnTo>
                  <a:pt x="514" y="87"/>
                </a:lnTo>
                <a:lnTo>
                  <a:pt x="520" y="90"/>
                </a:lnTo>
                <a:lnTo>
                  <a:pt x="525" y="96"/>
                </a:lnTo>
                <a:lnTo>
                  <a:pt x="530" y="101"/>
                </a:lnTo>
                <a:lnTo>
                  <a:pt x="533" y="107"/>
                </a:lnTo>
                <a:lnTo>
                  <a:pt x="535" y="114"/>
                </a:lnTo>
                <a:lnTo>
                  <a:pt x="536" y="122"/>
                </a:lnTo>
                <a:lnTo>
                  <a:pt x="535" y="128"/>
                </a:lnTo>
                <a:lnTo>
                  <a:pt x="533" y="136"/>
                </a:lnTo>
                <a:lnTo>
                  <a:pt x="530" y="141"/>
                </a:lnTo>
                <a:lnTo>
                  <a:pt x="525" y="14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39" name="Espace réservé du texte 2"/>
          <p:cNvSpPr txBox="1">
            <a:spLocks/>
          </p:cNvSpPr>
          <p:nvPr/>
        </p:nvSpPr>
        <p:spPr>
          <a:xfrm>
            <a:off x="304799" y="266513"/>
            <a:ext cx="8534400" cy="692337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800" b="1" smtClean="0">
                <a:solidFill>
                  <a:srgbClr val="C2113A"/>
                </a:solidFill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PEOPLE PATTERNS</a:t>
            </a:r>
            <a:endParaRPr lang="en-US" sz="1800" b="1" dirty="0">
              <a:solidFill>
                <a:srgbClr val="C2113A"/>
              </a:solidFill>
              <a:latin typeface="Gill Sans" panose="020B0604020202020204"/>
              <a:ea typeface="Calibri" panose="020F0502020204030204" pitchFamily="34" charset="0"/>
              <a:cs typeface="Helvetica Neue" panose="02000806000000020004" pitchFamily="5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D07E8FBE-31B5-4B75-B29B-1DC94C8E9047}" type="slidenum">
              <a:rPr lang="fr-FR" sz="1200" smtClean="0">
                <a:latin typeface="Gill Sans" panose="020B0604020202020204"/>
              </a:rPr>
              <a:pPr algn="ctr"/>
              <a:t>13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6472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Диаграмма 37"/>
          <p:cNvGraphicFramePr/>
          <p:nvPr>
            <p:extLst>
              <p:ext uri="{D42A27DB-BD31-4B8C-83A1-F6EECF244321}">
                <p14:modId xmlns:p14="http://schemas.microsoft.com/office/powerpoint/2010/main" val="340426905"/>
              </p:ext>
            </p:extLst>
          </p:nvPr>
        </p:nvGraphicFramePr>
        <p:xfrm>
          <a:off x="116799" y="1767404"/>
          <a:ext cx="2411847" cy="1607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6" name="Диаграмма 45"/>
          <p:cNvGraphicFramePr/>
          <p:nvPr>
            <p:extLst>
              <p:ext uri="{D42A27DB-BD31-4B8C-83A1-F6EECF244321}">
                <p14:modId xmlns:p14="http://schemas.microsoft.com/office/powerpoint/2010/main" val="183793173"/>
              </p:ext>
            </p:extLst>
          </p:nvPr>
        </p:nvGraphicFramePr>
        <p:xfrm>
          <a:off x="2202775" y="1767404"/>
          <a:ext cx="2411847" cy="1607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9" name="Диаграмма 48"/>
          <p:cNvGraphicFramePr/>
          <p:nvPr>
            <p:extLst>
              <p:ext uri="{D42A27DB-BD31-4B8C-83A1-F6EECF244321}">
                <p14:modId xmlns:p14="http://schemas.microsoft.com/office/powerpoint/2010/main" val="2407300602"/>
              </p:ext>
            </p:extLst>
          </p:nvPr>
        </p:nvGraphicFramePr>
        <p:xfrm>
          <a:off x="4231600" y="1767404"/>
          <a:ext cx="2411847" cy="1607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2" name="Диаграмма 51"/>
          <p:cNvGraphicFramePr/>
          <p:nvPr>
            <p:extLst>
              <p:ext uri="{D42A27DB-BD31-4B8C-83A1-F6EECF244321}">
                <p14:modId xmlns:p14="http://schemas.microsoft.com/office/powerpoint/2010/main" val="1301329368"/>
              </p:ext>
            </p:extLst>
          </p:nvPr>
        </p:nvGraphicFramePr>
        <p:xfrm>
          <a:off x="6260425" y="1767404"/>
          <a:ext cx="2411847" cy="1607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0" name="Прямоугольник 69"/>
          <p:cNvSpPr/>
          <p:nvPr/>
        </p:nvSpPr>
        <p:spPr>
          <a:xfrm>
            <a:off x="961248" y="2365434"/>
            <a:ext cx="734496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fr-FR" sz="2500" b="1" spc="-75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rPr>
              <a:t>20</a:t>
            </a:r>
            <a:r>
              <a:rPr lang="ru-RU" sz="2500" b="1" spc="-75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rPr>
              <a:t>%</a:t>
            </a:r>
            <a:endParaRPr lang="ru-RU" sz="2500" b="1" spc="-75" dirty="0">
              <a:solidFill>
                <a:prstClr val="black">
                  <a:lumMod val="75000"/>
                  <a:lumOff val="25000"/>
                </a:prstClr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030136" y="2365434"/>
            <a:ext cx="77617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fr-FR" sz="2500" b="1" spc="-75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10</a:t>
            </a:r>
            <a:r>
              <a:rPr lang="ru-RU" sz="2500" b="1" spc="-75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rPr>
              <a:t>%</a:t>
            </a:r>
            <a:endParaRPr lang="ru-RU" sz="2500" b="1" spc="-75" dirty="0">
              <a:solidFill>
                <a:prstClr val="black">
                  <a:lumMod val="75000"/>
                  <a:lumOff val="25000"/>
                </a:prstClr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5064463" y="2365434"/>
            <a:ext cx="77617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fr-FR" sz="2500" b="1" spc="-75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55</a:t>
            </a:r>
            <a:r>
              <a:rPr lang="ru-RU" sz="2500" b="1" spc="-75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rPr>
              <a:t>%</a:t>
            </a:r>
            <a:endParaRPr lang="ru-RU" sz="2500" b="1" spc="-75" dirty="0">
              <a:solidFill>
                <a:prstClr val="black">
                  <a:lumMod val="75000"/>
                  <a:lumOff val="25000"/>
                </a:prstClr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087785" y="2365434"/>
            <a:ext cx="77617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fr-FR" sz="2500" b="1" spc="-75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25</a:t>
            </a:r>
            <a:r>
              <a:rPr lang="ru-RU" sz="2500" b="1" spc="-75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  <a:cs typeface="Arial" panose="020B0604020202020204" pitchFamily="34" charset="0"/>
              </a:rPr>
              <a:t>%</a:t>
            </a:r>
            <a:endParaRPr lang="ru-RU" sz="2500" b="1" spc="-75" dirty="0">
              <a:solidFill>
                <a:prstClr val="black">
                  <a:lumMod val="75000"/>
                  <a:lumOff val="25000"/>
                </a:prstClr>
              </a:solidFill>
              <a:latin typeface="Roboto Condensed Light" panose="02000000000000000000" pitchFamily="2" charset="0"/>
              <a:ea typeface="Roboto Condensed Light" panose="02000000000000000000" pitchFamily="2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695493" y="3443146"/>
            <a:ext cx="1168590" cy="307777"/>
          </a:xfrm>
          <a:prstGeom prst="rect">
            <a:avLst/>
          </a:prstGeom>
          <a:solidFill>
            <a:srgbClr val="FFFFFF"/>
          </a:solidFill>
          <a:ln/>
        </p:spPr>
        <p:txBody>
          <a:bodyPr wrap="none" lIns="0" tIns="0" rIns="0" bIns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Différence</a:t>
            </a:r>
            <a:endParaRPr lang="ru-RU" sz="2000" b="1" dirty="0">
              <a:solidFill>
                <a:srgbClr val="17375E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841513" y="3458535"/>
            <a:ext cx="1056379" cy="307777"/>
          </a:xfrm>
          <a:prstGeom prst="rect">
            <a:avLst/>
          </a:prstGeom>
          <a:solidFill>
            <a:srgbClr val="FFFFFF"/>
          </a:solidFill>
          <a:ln/>
        </p:spPr>
        <p:txBody>
          <a:bodyPr wrap="none" lIns="0" tIns="0" rIns="0" bIns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Similarité</a:t>
            </a:r>
            <a:endParaRPr lang="ru-RU" sz="2000" b="1" dirty="0">
              <a:solidFill>
                <a:srgbClr val="17375E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4614622" y="3375894"/>
            <a:ext cx="1683443" cy="923330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Différence</a:t>
            </a:r>
            <a:r>
              <a:rPr lang="fr-FR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avec</a:t>
            </a:r>
            <a:r>
              <a:rPr lang="fr-FR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certains</a:t>
            </a:r>
            <a:r>
              <a:rPr lang="fr-FR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similitudes</a:t>
            </a:r>
            <a:endParaRPr lang="ru-RU" sz="2000" b="1" dirty="0">
              <a:solidFill>
                <a:srgbClr val="17375E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26" name="Прямоугольник 63"/>
          <p:cNvSpPr/>
          <p:nvPr/>
        </p:nvSpPr>
        <p:spPr>
          <a:xfrm>
            <a:off x="6643447" y="3409100"/>
            <a:ext cx="1818628" cy="923330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0"/>
              </a:spcBef>
            </a:pPr>
            <a:r>
              <a:rPr lang="fr-FR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Similarité</a:t>
            </a:r>
            <a:r>
              <a:rPr lang="fr-FR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avec</a:t>
            </a:r>
            <a:r>
              <a:rPr lang="fr-FR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certains</a:t>
            </a:r>
            <a:r>
              <a:rPr lang="fr-FR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différences</a:t>
            </a:r>
            <a:endParaRPr lang="ru-RU" sz="2000" b="1" dirty="0">
              <a:solidFill>
                <a:srgbClr val="17375E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27" name="Espace réservé du texte 2"/>
          <p:cNvSpPr txBox="1">
            <a:spLocks/>
          </p:cNvSpPr>
          <p:nvPr/>
        </p:nvSpPr>
        <p:spPr>
          <a:xfrm>
            <a:off x="304799" y="266513"/>
            <a:ext cx="8534400" cy="692337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800" b="1" smtClean="0">
                <a:solidFill>
                  <a:srgbClr val="C2113A"/>
                </a:solidFill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PEOPLE PATTERNS</a:t>
            </a:r>
            <a:endParaRPr lang="en-US" sz="1800" b="1" dirty="0">
              <a:solidFill>
                <a:srgbClr val="C2113A"/>
              </a:solidFill>
              <a:latin typeface="Gill Sans" panose="020B0604020202020204"/>
              <a:ea typeface="Calibri" panose="020F0502020204030204" pitchFamily="34" charset="0"/>
              <a:cs typeface="Helvetica Neue" panose="02000806000000020004" pitchFamily="5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AEB32C4E-82BE-431B-B4D5-A62E1F9EEEEA}" type="slidenum">
              <a:rPr lang="fr-FR" sz="1200" smtClean="0">
                <a:latin typeface="Gill Sans" panose="020B0604020202020204"/>
              </a:rPr>
              <a:pPr algn="ctr"/>
              <a:t>14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5614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 rot="2700000" flipV="1">
            <a:off x="1853665" y="2104062"/>
            <a:ext cx="1436342" cy="1436341"/>
          </a:xfrm>
          <a:prstGeom prst="rect">
            <a:avLst/>
          </a:prstGeom>
          <a:solidFill>
            <a:schemeClr val="accent1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 rot="2700000" flipV="1">
            <a:off x="3135714" y="2104065"/>
            <a:ext cx="1436342" cy="1436341"/>
          </a:xfrm>
          <a:prstGeom prst="rect">
            <a:avLst/>
          </a:prstGeom>
          <a:solidFill>
            <a:schemeClr val="accent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 rot="2700000" flipV="1">
            <a:off x="4422262" y="2104064"/>
            <a:ext cx="1436342" cy="1436341"/>
          </a:xfrm>
          <a:prstGeom prst="rect">
            <a:avLst/>
          </a:prstGeom>
          <a:solidFill>
            <a:schemeClr val="accent4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 rot="2700000" flipV="1">
            <a:off x="5764512" y="2104063"/>
            <a:ext cx="1436342" cy="1436341"/>
          </a:xfrm>
          <a:prstGeom prst="rect">
            <a:avLst/>
          </a:prstGeom>
          <a:solidFill>
            <a:schemeClr val="accent5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933184" y="3951492"/>
            <a:ext cx="116410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fr-FR" sz="1600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ＭＳ Ｐゴシック" panose="020B0600070205080204" pitchFamily="34" charset="-128"/>
              </a:rPr>
              <a:t>P</a:t>
            </a:r>
            <a:r>
              <a:rPr lang="fr-FR" sz="1600" b="1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ＭＳ Ｐゴシック" panose="020B0600070205080204" pitchFamily="34" charset="-128"/>
              </a:rPr>
              <a:t>ersonnes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542742" y="3951492"/>
            <a:ext cx="675185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fr-FR" sz="1600" b="1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ＭＳ Ｐゴシック" panose="020B0600070205080204" pitchFamily="34" charset="-128"/>
              </a:rPr>
              <a:t>Lieux</a:t>
            </a:r>
            <a:endParaRPr lang="fr-FR" sz="1600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  <a:ea typeface="ＭＳ Ｐゴシック" panose="020B0600070205080204" pitchFamily="34" charset="-128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664982" y="3951492"/>
            <a:ext cx="95090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fr-FR" sz="1600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ＭＳ Ｐゴシック" panose="020B0600070205080204" pitchFamily="34" charset="-128"/>
              </a:rPr>
              <a:t>Activités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994177" y="3951492"/>
            <a:ext cx="1213794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fr-FR" sz="1600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ＭＳ Ｐゴシック" panose="020B0600070205080204" pitchFamily="34" charset="-128"/>
              </a:rPr>
              <a:t>Information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" name="Espace réservé du texte 2"/>
          <p:cNvSpPr txBox="1">
            <a:spLocks/>
          </p:cNvSpPr>
          <p:nvPr/>
        </p:nvSpPr>
        <p:spPr>
          <a:xfrm>
            <a:off x="304799" y="266513"/>
            <a:ext cx="8534400" cy="692337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800" b="1" smtClean="0">
                <a:solidFill>
                  <a:srgbClr val="C2113A"/>
                </a:solidFill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PEOPLE PATTERNS</a:t>
            </a:r>
            <a:endParaRPr lang="en-US" sz="1800" b="1" dirty="0">
              <a:solidFill>
                <a:srgbClr val="C2113A"/>
              </a:solidFill>
              <a:latin typeface="Gill Sans" panose="020B0604020202020204"/>
              <a:ea typeface="Calibri" panose="020F0502020204030204" pitchFamily="34" charset="0"/>
              <a:cs typeface="Helvetica Neue" panose="02000806000000020004" pitchFamily="5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31619BB4-2631-41A0-8813-E9EA8012C816}" type="slidenum">
              <a:rPr lang="fr-FR" sz="1200" smtClean="0">
                <a:latin typeface="Gill Sans" panose="020B0604020202020204"/>
              </a:rPr>
              <a:pPr algn="ctr"/>
              <a:t>15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26696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/>
          </p:cNvSpPr>
          <p:nvPr/>
        </p:nvSpPr>
        <p:spPr bwMode="auto">
          <a:xfrm>
            <a:off x="4061130" y="3769605"/>
            <a:ext cx="226307" cy="628878"/>
          </a:xfrm>
          <a:custGeom>
            <a:avLst/>
            <a:gdLst>
              <a:gd name="T0" fmla="*/ 76 w 910"/>
              <a:gd name="T1" fmla="*/ 0 h 2527"/>
              <a:gd name="T2" fmla="*/ 0 w 910"/>
              <a:gd name="T3" fmla="*/ 2409 h 2527"/>
              <a:gd name="T4" fmla="*/ 1 w 910"/>
              <a:gd name="T5" fmla="*/ 2416 h 2527"/>
              <a:gd name="T6" fmla="*/ 8 w 910"/>
              <a:gd name="T7" fmla="*/ 2433 h 2527"/>
              <a:gd name="T8" fmla="*/ 13 w 910"/>
              <a:gd name="T9" fmla="*/ 2445 h 2527"/>
              <a:gd name="T10" fmla="*/ 21 w 910"/>
              <a:gd name="T11" fmla="*/ 2458 h 2527"/>
              <a:gd name="T12" fmla="*/ 30 w 910"/>
              <a:gd name="T13" fmla="*/ 2471 h 2527"/>
              <a:gd name="T14" fmla="*/ 42 w 910"/>
              <a:gd name="T15" fmla="*/ 2484 h 2527"/>
              <a:gd name="T16" fmla="*/ 49 w 910"/>
              <a:gd name="T17" fmla="*/ 2490 h 2527"/>
              <a:gd name="T18" fmla="*/ 57 w 910"/>
              <a:gd name="T19" fmla="*/ 2496 h 2527"/>
              <a:gd name="T20" fmla="*/ 65 w 910"/>
              <a:gd name="T21" fmla="*/ 2502 h 2527"/>
              <a:gd name="T22" fmla="*/ 74 w 910"/>
              <a:gd name="T23" fmla="*/ 2507 h 2527"/>
              <a:gd name="T24" fmla="*/ 84 w 910"/>
              <a:gd name="T25" fmla="*/ 2512 h 2527"/>
              <a:gd name="T26" fmla="*/ 95 w 910"/>
              <a:gd name="T27" fmla="*/ 2516 h 2527"/>
              <a:gd name="T28" fmla="*/ 106 w 910"/>
              <a:gd name="T29" fmla="*/ 2520 h 2527"/>
              <a:gd name="T30" fmla="*/ 119 w 910"/>
              <a:gd name="T31" fmla="*/ 2523 h 2527"/>
              <a:gd name="T32" fmla="*/ 132 w 910"/>
              <a:gd name="T33" fmla="*/ 2525 h 2527"/>
              <a:gd name="T34" fmla="*/ 146 w 910"/>
              <a:gd name="T35" fmla="*/ 2526 h 2527"/>
              <a:gd name="T36" fmla="*/ 161 w 910"/>
              <a:gd name="T37" fmla="*/ 2527 h 2527"/>
              <a:gd name="T38" fmla="*/ 177 w 910"/>
              <a:gd name="T39" fmla="*/ 2526 h 2527"/>
              <a:gd name="T40" fmla="*/ 194 w 910"/>
              <a:gd name="T41" fmla="*/ 2525 h 2527"/>
              <a:gd name="T42" fmla="*/ 214 w 910"/>
              <a:gd name="T43" fmla="*/ 2522 h 2527"/>
              <a:gd name="T44" fmla="*/ 233 w 910"/>
              <a:gd name="T45" fmla="*/ 2519 h 2527"/>
              <a:gd name="T46" fmla="*/ 253 w 910"/>
              <a:gd name="T47" fmla="*/ 2514 h 2527"/>
              <a:gd name="T48" fmla="*/ 910 w 910"/>
              <a:gd name="T49" fmla="*/ 682 h 2527"/>
              <a:gd name="T50" fmla="*/ 905 w 910"/>
              <a:gd name="T51" fmla="*/ 680 h 2527"/>
              <a:gd name="T52" fmla="*/ 892 w 910"/>
              <a:gd name="T53" fmla="*/ 673 h 2527"/>
              <a:gd name="T54" fmla="*/ 870 w 910"/>
              <a:gd name="T55" fmla="*/ 661 h 2527"/>
              <a:gd name="T56" fmla="*/ 840 w 910"/>
              <a:gd name="T57" fmla="*/ 644 h 2527"/>
              <a:gd name="T58" fmla="*/ 804 w 910"/>
              <a:gd name="T59" fmla="*/ 622 h 2527"/>
              <a:gd name="T60" fmla="*/ 760 w 910"/>
              <a:gd name="T61" fmla="*/ 594 h 2527"/>
              <a:gd name="T62" fmla="*/ 710 w 910"/>
              <a:gd name="T63" fmla="*/ 562 h 2527"/>
              <a:gd name="T64" fmla="*/ 655 w 910"/>
              <a:gd name="T65" fmla="*/ 523 h 2527"/>
              <a:gd name="T66" fmla="*/ 594 w 910"/>
              <a:gd name="T67" fmla="*/ 480 h 2527"/>
              <a:gd name="T68" fmla="*/ 530 w 910"/>
              <a:gd name="T69" fmla="*/ 429 h 2527"/>
              <a:gd name="T70" fmla="*/ 496 w 910"/>
              <a:gd name="T71" fmla="*/ 402 h 2527"/>
              <a:gd name="T72" fmla="*/ 461 w 910"/>
              <a:gd name="T73" fmla="*/ 373 h 2527"/>
              <a:gd name="T74" fmla="*/ 425 w 910"/>
              <a:gd name="T75" fmla="*/ 343 h 2527"/>
              <a:gd name="T76" fmla="*/ 389 w 910"/>
              <a:gd name="T77" fmla="*/ 311 h 2527"/>
              <a:gd name="T78" fmla="*/ 352 w 910"/>
              <a:gd name="T79" fmla="*/ 278 h 2527"/>
              <a:gd name="T80" fmla="*/ 314 w 910"/>
              <a:gd name="T81" fmla="*/ 243 h 2527"/>
              <a:gd name="T82" fmla="*/ 275 w 910"/>
              <a:gd name="T83" fmla="*/ 207 h 2527"/>
              <a:gd name="T84" fmla="*/ 236 w 910"/>
              <a:gd name="T85" fmla="*/ 169 h 2527"/>
              <a:gd name="T86" fmla="*/ 196 w 910"/>
              <a:gd name="T87" fmla="*/ 129 h 2527"/>
              <a:gd name="T88" fmla="*/ 156 w 910"/>
              <a:gd name="T89" fmla="*/ 88 h 2527"/>
              <a:gd name="T90" fmla="*/ 116 w 910"/>
              <a:gd name="T91" fmla="*/ 45 h 2527"/>
              <a:gd name="T92" fmla="*/ 76 w 910"/>
              <a:gd name="T93" fmla="*/ 0 h 2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10" h="2527">
                <a:moveTo>
                  <a:pt x="76" y="0"/>
                </a:moveTo>
                <a:lnTo>
                  <a:pt x="0" y="2409"/>
                </a:lnTo>
                <a:lnTo>
                  <a:pt x="1" y="2416"/>
                </a:lnTo>
                <a:lnTo>
                  <a:pt x="8" y="2433"/>
                </a:lnTo>
                <a:lnTo>
                  <a:pt x="13" y="2445"/>
                </a:lnTo>
                <a:lnTo>
                  <a:pt x="21" y="2458"/>
                </a:lnTo>
                <a:lnTo>
                  <a:pt x="30" y="2471"/>
                </a:lnTo>
                <a:lnTo>
                  <a:pt x="42" y="2484"/>
                </a:lnTo>
                <a:lnTo>
                  <a:pt x="49" y="2490"/>
                </a:lnTo>
                <a:lnTo>
                  <a:pt x="57" y="2496"/>
                </a:lnTo>
                <a:lnTo>
                  <a:pt x="65" y="2502"/>
                </a:lnTo>
                <a:lnTo>
                  <a:pt x="74" y="2507"/>
                </a:lnTo>
                <a:lnTo>
                  <a:pt x="84" y="2512"/>
                </a:lnTo>
                <a:lnTo>
                  <a:pt x="95" y="2516"/>
                </a:lnTo>
                <a:lnTo>
                  <a:pt x="106" y="2520"/>
                </a:lnTo>
                <a:lnTo>
                  <a:pt x="119" y="2523"/>
                </a:lnTo>
                <a:lnTo>
                  <a:pt x="132" y="2525"/>
                </a:lnTo>
                <a:lnTo>
                  <a:pt x="146" y="2526"/>
                </a:lnTo>
                <a:lnTo>
                  <a:pt x="161" y="2527"/>
                </a:lnTo>
                <a:lnTo>
                  <a:pt x="177" y="2526"/>
                </a:lnTo>
                <a:lnTo>
                  <a:pt x="194" y="2525"/>
                </a:lnTo>
                <a:lnTo>
                  <a:pt x="214" y="2522"/>
                </a:lnTo>
                <a:lnTo>
                  <a:pt x="233" y="2519"/>
                </a:lnTo>
                <a:lnTo>
                  <a:pt x="253" y="2514"/>
                </a:lnTo>
                <a:lnTo>
                  <a:pt x="910" y="682"/>
                </a:lnTo>
                <a:lnTo>
                  <a:pt x="905" y="680"/>
                </a:lnTo>
                <a:lnTo>
                  <a:pt x="892" y="673"/>
                </a:lnTo>
                <a:lnTo>
                  <a:pt x="870" y="661"/>
                </a:lnTo>
                <a:lnTo>
                  <a:pt x="840" y="644"/>
                </a:lnTo>
                <a:lnTo>
                  <a:pt x="804" y="622"/>
                </a:lnTo>
                <a:lnTo>
                  <a:pt x="760" y="594"/>
                </a:lnTo>
                <a:lnTo>
                  <a:pt x="710" y="562"/>
                </a:lnTo>
                <a:lnTo>
                  <a:pt x="655" y="523"/>
                </a:lnTo>
                <a:lnTo>
                  <a:pt x="594" y="480"/>
                </a:lnTo>
                <a:lnTo>
                  <a:pt x="530" y="429"/>
                </a:lnTo>
                <a:lnTo>
                  <a:pt x="496" y="402"/>
                </a:lnTo>
                <a:lnTo>
                  <a:pt x="461" y="373"/>
                </a:lnTo>
                <a:lnTo>
                  <a:pt x="425" y="343"/>
                </a:lnTo>
                <a:lnTo>
                  <a:pt x="389" y="311"/>
                </a:lnTo>
                <a:lnTo>
                  <a:pt x="352" y="278"/>
                </a:lnTo>
                <a:lnTo>
                  <a:pt x="314" y="243"/>
                </a:lnTo>
                <a:lnTo>
                  <a:pt x="275" y="207"/>
                </a:lnTo>
                <a:lnTo>
                  <a:pt x="236" y="169"/>
                </a:lnTo>
                <a:lnTo>
                  <a:pt x="196" y="129"/>
                </a:lnTo>
                <a:lnTo>
                  <a:pt x="156" y="88"/>
                </a:lnTo>
                <a:lnTo>
                  <a:pt x="116" y="45"/>
                </a:lnTo>
                <a:lnTo>
                  <a:pt x="7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4856564" y="3769605"/>
            <a:ext cx="226307" cy="628878"/>
          </a:xfrm>
          <a:custGeom>
            <a:avLst/>
            <a:gdLst>
              <a:gd name="T0" fmla="*/ 834 w 910"/>
              <a:gd name="T1" fmla="*/ 0 h 2527"/>
              <a:gd name="T2" fmla="*/ 910 w 910"/>
              <a:gd name="T3" fmla="*/ 2409 h 2527"/>
              <a:gd name="T4" fmla="*/ 908 w 910"/>
              <a:gd name="T5" fmla="*/ 2416 h 2527"/>
              <a:gd name="T6" fmla="*/ 902 w 910"/>
              <a:gd name="T7" fmla="*/ 2433 h 2527"/>
              <a:gd name="T8" fmla="*/ 897 w 910"/>
              <a:gd name="T9" fmla="*/ 2445 h 2527"/>
              <a:gd name="T10" fmla="*/ 889 w 910"/>
              <a:gd name="T11" fmla="*/ 2458 h 2527"/>
              <a:gd name="T12" fmla="*/ 879 w 910"/>
              <a:gd name="T13" fmla="*/ 2471 h 2527"/>
              <a:gd name="T14" fmla="*/ 868 w 910"/>
              <a:gd name="T15" fmla="*/ 2484 h 2527"/>
              <a:gd name="T16" fmla="*/ 861 w 910"/>
              <a:gd name="T17" fmla="*/ 2490 h 2527"/>
              <a:gd name="T18" fmla="*/ 853 w 910"/>
              <a:gd name="T19" fmla="*/ 2496 h 2527"/>
              <a:gd name="T20" fmla="*/ 845 w 910"/>
              <a:gd name="T21" fmla="*/ 2502 h 2527"/>
              <a:gd name="T22" fmla="*/ 836 w 910"/>
              <a:gd name="T23" fmla="*/ 2507 h 2527"/>
              <a:gd name="T24" fmla="*/ 826 w 910"/>
              <a:gd name="T25" fmla="*/ 2512 h 2527"/>
              <a:gd name="T26" fmla="*/ 815 w 910"/>
              <a:gd name="T27" fmla="*/ 2516 h 2527"/>
              <a:gd name="T28" fmla="*/ 804 w 910"/>
              <a:gd name="T29" fmla="*/ 2520 h 2527"/>
              <a:gd name="T30" fmla="*/ 791 w 910"/>
              <a:gd name="T31" fmla="*/ 2523 h 2527"/>
              <a:gd name="T32" fmla="*/ 778 w 910"/>
              <a:gd name="T33" fmla="*/ 2525 h 2527"/>
              <a:gd name="T34" fmla="*/ 764 w 910"/>
              <a:gd name="T35" fmla="*/ 2526 h 2527"/>
              <a:gd name="T36" fmla="*/ 749 w 910"/>
              <a:gd name="T37" fmla="*/ 2527 h 2527"/>
              <a:gd name="T38" fmla="*/ 733 w 910"/>
              <a:gd name="T39" fmla="*/ 2526 h 2527"/>
              <a:gd name="T40" fmla="*/ 716 w 910"/>
              <a:gd name="T41" fmla="*/ 2525 h 2527"/>
              <a:gd name="T42" fmla="*/ 696 w 910"/>
              <a:gd name="T43" fmla="*/ 2522 h 2527"/>
              <a:gd name="T44" fmla="*/ 677 w 910"/>
              <a:gd name="T45" fmla="*/ 2519 h 2527"/>
              <a:gd name="T46" fmla="*/ 657 w 910"/>
              <a:gd name="T47" fmla="*/ 2514 h 2527"/>
              <a:gd name="T48" fmla="*/ 0 w 910"/>
              <a:gd name="T49" fmla="*/ 682 h 2527"/>
              <a:gd name="T50" fmla="*/ 5 w 910"/>
              <a:gd name="T51" fmla="*/ 680 h 2527"/>
              <a:gd name="T52" fmla="*/ 18 w 910"/>
              <a:gd name="T53" fmla="*/ 673 h 2527"/>
              <a:gd name="T54" fmla="*/ 40 w 910"/>
              <a:gd name="T55" fmla="*/ 661 h 2527"/>
              <a:gd name="T56" fmla="*/ 70 w 910"/>
              <a:gd name="T57" fmla="*/ 644 h 2527"/>
              <a:gd name="T58" fmla="*/ 106 w 910"/>
              <a:gd name="T59" fmla="*/ 622 h 2527"/>
              <a:gd name="T60" fmla="*/ 150 w 910"/>
              <a:gd name="T61" fmla="*/ 594 h 2527"/>
              <a:gd name="T62" fmla="*/ 200 w 910"/>
              <a:gd name="T63" fmla="*/ 562 h 2527"/>
              <a:gd name="T64" fmla="*/ 255 w 910"/>
              <a:gd name="T65" fmla="*/ 523 h 2527"/>
              <a:gd name="T66" fmla="*/ 316 w 910"/>
              <a:gd name="T67" fmla="*/ 480 h 2527"/>
              <a:gd name="T68" fmla="*/ 380 w 910"/>
              <a:gd name="T69" fmla="*/ 429 h 2527"/>
              <a:gd name="T70" fmla="*/ 414 w 910"/>
              <a:gd name="T71" fmla="*/ 402 h 2527"/>
              <a:gd name="T72" fmla="*/ 449 w 910"/>
              <a:gd name="T73" fmla="*/ 373 h 2527"/>
              <a:gd name="T74" fmla="*/ 485 w 910"/>
              <a:gd name="T75" fmla="*/ 343 h 2527"/>
              <a:gd name="T76" fmla="*/ 521 w 910"/>
              <a:gd name="T77" fmla="*/ 311 h 2527"/>
              <a:gd name="T78" fmla="*/ 558 w 910"/>
              <a:gd name="T79" fmla="*/ 278 h 2527"/>
              <a:gd name="T80" fmla="*/ 596 w 910"/>
              <a:gd name="T81" fmla="*/ 243 h 2527"/>
              <a:gd name="T82" fmla="*/ 635 w 910"/>
              <a:gd name="T83" fmla="*/ 207 h 2527"/>
              <a:gd name="T84" fmla="*/ 674 w 910"/>
              <a:gd name="T85" fmla="*/ 169 h 2527"/>
              <a:gd name="T86" fmla="*/ 714 w 910"/>
              <a:gd name="T87" fmla="*/ 129 h 2527"/>
              <a:gd name="T88" fmla="*/ 754 w 910"/>
              <a:gd name="T89" fmla="*/ 88 h 2527"/>
              <a:gd name="T90" fmla="*/ 794 w 910"/>
              <a:gd name="T91" fmla="*/ 45 h 2527"/>
              <a:gd name="T92" fmla="*/ 834 w 910"/>
              <a:gd name="T93" fmla="*/ 0 h 2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10" h="2527">
                <a:moveTo>
                  <a:pt x="834" y="0"/>
                </a:moveTo>
                <a:lnTo>
                  <a:pt x="910" y="2409"/>
                </a:lnTo>
                <a:lnTo>
                  <a:pt x="908" y="2416"/>
                </a:lnTo>
                <a:lnTo>
                  <a:pt x="902" y="2433"/>
                </a:lnTo>
                <a:lnTo>
                  <a:pt x="897" y="2445"/>
                </a:lnTo>
                <a:lnTo>
                  <a:pt x="889" y="2458"/>
                </a:lnTo>
                <a:lnTo>
                  <a:pt x="879" y="2471"/>
                </a:lnTo>
                <a:lnTo>
                  <a:pt x="868" y="2484"/>
                </a:lnTo>
                <a:lnTo>
                  <a:pt x="861" y="2490"/>
                </a:lnTo>
                <a:lnTo>
                  <a:pt x="853" y="2496"/>
                </a:lnTo>
                <a:lnTo>
                  <a:pt x="845" y="2502"/>
                </a:lnTo>
                <a:lnTo>
                  <a:pt x="836" y="2507"/>
                </a:lnTo>
                <a:lnTo>
                  <a:pt x="826" y="2512"/>
                </a:lnTo>
                <a:lnTo>
                  <a:pt x="815" y="2516"/>
                </a:lnTo>
                <a:lnTo>
                  <a:pt x="804" y="2520"/>
                </a:lnTo>
                <a:lnTo>
                  <a:pt x="791" y="2523"/>
                </a:lnTo>
                <a:lnTo>
                  <a:pt x="778" y="2525"/>
                </a:lnTo>
                <a:lnTo>
                  <a:pt x="764" y="2526"/>
                </a:lnTo>
                <a:lnTo>
                  <a:pt x="749" y="2527"/>
                </a:lnTo>
                <a:lnTo>
                  <a:pt x="733" y="2526"/>
                </a:lnTo>
                <a:lnTo>
                  <a:pt x="716" y="2525"/>
                </a:lnTo>
                <a:lnTo>
                  <a:pt x="696" y="2522"/>
                </a:lnTo>
                <a:lnTo>
                  <a:pt x="677" y="2519"/>
                </a:lnTo>
                <a:lnTo>
                  <a:pt x="657" y="2514"/>
                </a:lnTo>
                <a:lnTo>
                  <a:pt x="0" y="682"/>
                </a:lnTo>
                <a:lnTo>
                  <a:pt x="5" y="680"/>
                </a:lnTo>
                <a:lnTo>
                  <a:pt x="18" y="673"/>
                </a:lnTo>
                <a:lnTo>
                  <a:pt x="40" y="661"/>
                </a:lnTo>
                <a:lnTo>
                  <a:pt x="70" y="644"/>
                </a:lnTo>
                <a:lnTo>
                  <a:pt x="106" y="622"/>
                </a:lnTo>
                <a:lnTo>
                  <a:pt x="150" y="594"/>
                </a:lnTo>
                <a:lnTo>
                  <a:pt x="200" y="562"/>
                </a:lnTo>
                <a:lnTo>
                  <a:pt x="255" y="523"/>
                </a:lnTo>
                <a:lnTo>
                  <a:pt x="316" y="480"/>
                </a:lnTo>
                <a:lnTo>
                  <a:pt x="380" y="429"/>
                </a:lnTo>
                <a:lnTo>
                  <a:pt x="414" y="402"/>
                </a:lnTo>
                <a:lnTo>
                  <a:pt x="449" y="373"/>
                </a:lnTo>
                <a:lnTo>
                  <a:pt x="485" y="343"/>
                </a:lnTo>
                <a:lnTo>
                  <a:pt x="521" y="311"/>
                </a:lnTo>
                <a:lnTo>
                  <a:pt x="558" y="278"/>
                </a:lnTo>
                <a:lnTo>
                  <a:pt x="596" y="243"/>
                </a:lnTo>
                <a:lnTo>
                  <a:pt x="635" y="207"/>
                </a:lnTo>
                <a:lnTo>
                  <a:pt x="674" y="169"/>
                </a:lnTo>
                <a:lnTo>
                  <a:pt x="714" y="129"/>
                </a:lnTo>
                <a:lnTo>
                  <a:pt x="754" y="88"/>
                </a:lnTo>
                <a:lnTo>
                  <a:pt x="794" y="45"/>
                </a:lnTo>
                <a:lnTo>
                  <a:pt x="83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3650343" y="2138406"/>
            <a:ext cx="1843314" cy="1841074"/>
          </a:xfrm>
          <a:custGeom>
            <a:avLst/>
            <a:gdLst>
              <a:gd name="T0" fmla="*/ 7385 w 7404"/>
              <a:gd name="T1" fmla="*/ 4075 h 7394"/>
              <a:gd name="T2" fmla="*/ 7288 w 7404"/>
              <a:gd name="T3" fmla="*/ 4621 h 7394"/>
              <a:gd name="T4" fmla="*/ 7113 w 7404"/>
              <a:gd name="T5" fmla="*/ 5136 h 7394"/>
              <a:gd name="T6" fmla="*/ 6868 w 7404"/>
              <a:gd name="T7" fmla="*/ 5614 h 7394"/>
              <a:gd name="T8" fmla="*/ 6558 w 7404"/>
              <a:gd name="T9" fmla="*/ 6049 h 7394"/>
              <a:gd name="T10" fmla="*/ 6191 w 7404"/>
              <a:gd name="T11" fmla="*/ 6433 h 7394"/>
              <a:gd name="T12" fmla="*/ 5772 w 7404"/>
              <a:gd name="T13" fmla="*/ 6762 h 7394"/>
              <a:gd name="T14" fmla="*/ 5307 w 7404"/>
              <a:gd name="T15" fmla="*/ 7030 h 7394"/>
              <a:gd name="T16" fmla="*/ 4803 w 7404"/>
              <a:gd name="T17" fmla="*/ 7228 h 7394"/>
              <a:gd name="T18" fmla="*/ 4266 w 7404"/>
              <a:gd name="T19" fmla="*/ 7352 h 7394"/>
              <a:gd name="T20" fmla="*/ 3702 w 7404"/>
              <a:gd name="T21" fmla="*/ 7394 h 7394"/>
              <a:gd name="T22" fmla="*/ 3138 w 7404"/>
              <a:gd name="T23" fmla="*/ 7352 h 7394"/>
              <a:gd name="T24" fmla="*/ 2601 w 7404"/>
              <a:gd name="T25" fmla="*/ 7228 h 7394"/>
              <a:gd name="T26" fmla="*/ 2097 w 7404"/>
              <a:gd name="T27" fmla="*/ 7030 h 7394"/>
              <a:gd name="T28" fmla="*/ 1632 w 7404"/>
              <a:gd name="T29" fmla="*/ 6762 h 7394"/>
              <a:gd name="T30" fmla="*/ 1213 w 7404"/>
              <a:gd name="T31" fmla="*/ 6433 h 7394"/>
              <a:gd name="T32" fmla="*/ 846 w 7404"/>
              <a:gd name="T33" fmla="*/ 6049 h 7394"/>
              <a:gd name="T34" fmla="*/ 536 w 7404"/>
              <a:gd name="T35" fmla="*/ 5614 h 7394"/>
              <a:gd name="T36" fmla="*/ 291 w 7404"/>
              <a:gd name="T37" fmla="*/ 5136 h 7394"/>
              <a:gd name="T38" fmla="*/ 116 w 7404"/>
              <a:gd name="T39" fmla="*/ 4621 h 7394"/>
              <a:gd name="T40" fmla="*/ 19 w 7404"/>
              <a:gd name="T41" fmla="*/ 4075 h 7394"/>
              <a:gd name="T42" fmla="*/ 5 w 7404"/>
              <a:gd name="T43" fmla="*/ 3507 h 7394"/>
              <a:gd name="T44" fmla="*/ 75 w 7404"/>
              <a:gd name="T45" fmla="*/ 2951 h 7394"/>
              <a:gd name="T46" fmla="*/ 224 w 7404"/>
              <a:gd name="T47" fmla="*/ 2426 h 7394"/>
              <a:gd name="T48" fmla="*/ 447 w 7404"/>
              <a:gd name="T49" fmla="*/ 1935 h 7394"/>
              <a:gd name="T50" fmla="*/ 735 w 7404"/>
              <a:gd name="T51" fmla="*/ 1485 h 7394"/>
              <a:gd name="T52" fmla="*/ 1084 w 7404"/>
              <a:gd name="T53" fmla="*/ 1083 h 7394"/>
              <a:gd name="T54" fmla="*/ 1487 w 7404"/>
              <a:gd name="T55" fmla="*/ 734 h 7394"/>
              <a:gd name="T56" fmla="*/ 1938 w 7404"/>
              <a:gd name="T57" fmla="*/ 446 h 7394"/>
              <a:gd name="T58" fmla="*/ 2430 w 7404"/>
              <a:gd name="T59" fmla="*/ 224 h 7394"/>
              <a:gd name="T60" fmla="*/ 2956 w 7404"/>
              <a:gd name="T61" fmla="*/ 75 h 7394"/>
              <a:gd name="T62" fmla="*/ 3512 w 7404"/>
              <a:gd name="T63" fmla="*/ 5 h 7394"/>
              <a:gd name="T64" fmla="*/ 4081 w 7404"/>
              <a:gd name="T65" fmla="*/ 19 h 7394"/>
              <a:gd name="T66" fmla="*/ 4627 w 7404"/>
              <a:gd name="T67" fmla="*/ 116 h 7394"/>
              <a:gd name="T68" fmla="*/ 5143 w 7404"/>
              <a:gd name="T69" fmla="*/ 290 h 7394"/>
              <a:gd name="T70" fmla="*/ 5622 w 7404"/>
              <a:gd name="T71" fmla="*/ 535 h 7394"/>
              <a:gd name="T72" fmla="*/ 6056 w 7404"/>
              <a:gd name="T73" fmla="*/ 844 h 7394"/>
              <a:gd name="T74" fmla="*/ 6442 w 7404"/>
              <a:gd name="T75" fmla="*/ 1212 h 7394"/>
              <a:gd name="T76" fmla="*/ 6772 w 7404"/>
              <a:gd name="T77" fmla="*/ 1630 h 7394"/>
              <a:gd name="T78" fmla="*/ 7039 w 7404"/>
              <a:gd name="T79" fmla="*/ 2094 h 7394"/>
              <a:gd name="T80" fmla="*/ 7238 w 7404"/>
              <a:gd name="T81" fmla="*/ 2597 h 7394"/>
              <a:gd name="T82" fmla="*/ 7361 w 7404"/>
              <a:gd name="T83" fmla="*/ 3134 h 7394"/>
              <a:gd name="T84" fmla="*/ 7404 w 7404"/>
              <a:gd name="T85" fmla="*/ 3697 h 7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404" h="7394">
                <a:moveTo>
                  <a:pt x="7404" y="3697"/>
                </a:moveTo>
                <a:lnTo>
                  <a:pt x="7399" y="3887"/>
                </a:lnTo>
                <a:lnTo>
                  <a:pt x="7385" y="4075"/>
                </a:lnTo>
                <a:lnTo>
                  <a:pt x="7361" y="4260"/>
                </a:lnTo>
                <a:lnTo>
                  <a:pt x="7329" y="4442"/>
                </a:lnTo>
                <a:lnTo>
                  <a:pt x="7288" y="4621"/>
                </a:lnTo>
                <a:lnTo>
                  <a:pt x="7238" y="4796"/>
                </a:lnTo>
                <a:lnTo>
                  <a:pt x="7180" y="4968"/>
                </a:lnTo>
                <a:lnTo>
                  <a:pt x="7113" y="5136"/>
                </a:lnTo>
                <a:lnTo>
                  <a:pt x="7039" y="5300"/>
                </a:lnTo>
                <a:lnTo>
                  <a:pt x="6957" y="5459"/>
                </a:lnTo>
                <a:lnTo>
                  <a:pt x="6868" y="5614"/>
                </a:lnTo>
                <a:lnTo>
                  <a:pt x="6772" y="5764"/>
                </a:lnTo>
                <a:lnTo>
                  <a:pt x="6669" y="5909"/>
                </a:lnTo>
                <a:lnTo>
                  <a:pt x="6558" y="6049"/>
                </a:lnTo>
                <a:lnTo>
                  <a:pt x="6442" y="6183"/>
                </a:lnTo>
                <a:lnTo>
                  <a:pt x="6320" y="6311"/>
                </a:lnTo>
                <a:lnTo>
                  <a:pt x="6191" y="6433"/>
                </a:lnTo>
                <a:lnTo>
                  <a:pt x="6056" y="6549"/>
                </a:lnTo>
                <a:lnTo>
                  <a:pt x="5917" y="6659"/>
                </a:lnTo>
                <a:lnTo>
                  <a:pt x="5772" y="6762"/>
                </a:lnTo>
                <a:lnTo>
                  <a:pt x="5622" y="6858"/>
                </a:lnTo>
                <a:lnTo>
                  <a:pt x="5466" y="6947"/>
                </a:lnTo>
                <a:lnTo>
                  <a:pt x="5307" y="7030"/>
                </a:lnTo>
                <a:lnTo>
                  <a:pt x="5143" y="7104"/>
                </a:lnTo>
                <a:lnTo>
                  <a:pt x="4974" y="7170"/>
                </a:lnTo>
                <a:lnTo>
                  <a:pt x="4803" y="7228"/>
                </a:lnTo>
                <a:lnTo>
                  <a:pt x="4627" y="7278"/>
                </a:lnTo>
                <a:lnTo>
                  <a:pt x="4448" y="7319"/>
                </a:lnTo>
                <a:lnTo>
                  <a:pt x="4266" y="7352"/>
                </a:lnTo>
                <a:lnTo>
                  <a:pt x="4081" y="7375"/>
                </a:lnTo>
                <a:lnTo>
                  <a:pt x="3892" y="7389"/>
                </a:lnTo>
                <a:lnTo>
                  <a:pt x="3702" y="7394"/>
                </a:lnTo>
                <a:lnTo>
                  <a:pt x="3512" y="7389"/>
                </a:lnTo>
                <a:lnTo>
                  <a:pt x="3323" y="7375"/>
                </a:lnTo>
                <a:lnTo>
                  <a:pt x="3138" y="7352"/>
                </a:lnTo>
                <a:lnTo>
                  <a:pt x="2956" y="7319"/>
                </a:lnTo>
                <a:lnTo>
                  <a:pt x="2777" y="7278"/>
                </a:lnTo>
                <a:lnTo>
                  <a:pt x="2601" y="7228"/>
                </a:lnTo>
                <a:lnTo>
                  <a:pt x="2430" y="7170"/>
                </a:lnTo>
                <a:lnTo>
                  <a:pt x="2261" y="7104"/>
                </a:lnTo>
                <a:lnTo>
                  <a:pt x="2097" y="7030"/>
                </a:lnTo>
                <a:lnTo>
                  <a:pt x="1938" y="6947"/>
                </a:lnTo>
                <a:lnTo>
                  <a:pt x="1782" y="6858"/>
                </a:lnTo>
                <a:lnTo>
                  <a:pt x="1632" y="6762"/>
                </a:lnTo>
                <a:lnTo>
                  <a:pt x="1487" y="6659"/>
                </a:lnTo>
                <a:lnTo>
                  <a:pt x="1348" y="6549"/>
                </a:lnTo>
                <a:lnTo>
                  <a:pt x="1213" y="6433"/>
                </a:lnTo>
                <a:lnTo>
                  <a:pt x="1084" y="6311"/>
                </a:lnTo>
                <a:lnTo>
                  <a:pt x="962" y="6183"/>
                </a:lnTo>
                <a:lnTo>
                  <a:pt x="846" y="6049"/>
                </a:lnTo>
                <a:lnTo>
                  <a:pt x="735" y="5909"/>
                </a:lnTo>
                <a:lnTo>
                  <a:pt x="632" y="5764"/>
                </a:lnTo>
                <a:lnTo>
                  <a:pt x="536" y="5614"/>
                </a:lnTo>
                <a:lnTo>
                  <a:pt x="447" y="5459"/>
                </a:lnTo>
                <a:lnTo>
                  <a:pt x="365" y="5300"/>
                </a:lnTo>
                <a:lnTo>
                  <a:pt x="291" y="5136"/>
                </a:lnTo>
                <a:lnTo>
                  <a:pt x="224" y="4968"/>
                </a:lnTo>
                <a:lnTo>
                  <a:pt x="166" y="4796"/>
                </a:lnTo>
                <a:lnTo>
                  <a:pt x="116" y="4621"/>
                </a:lnTo>
                <a:lnTo>
                  <a:pt x="75" y="4442"/>
                </a:lnTo>
                <a:lnTo>
                  <a:pt x="43" y="4260"/>
                </a:lnTo>
                <a:lnTo>
                  <a:pt x="19" y="4075"/>
                </a:lnTo>
                <a:lnTo>
                  <a:pt x="5" y="3887"/>
                </a:lnTo>
                <a:lnTo>
                  <a:pt x="0" y="3697"/>
                </a:lnTo>
                <a:lnTo>
                  <a:pt x="5" y="3507"/>
                </a:lnTo>
                <a:lnTo>
                  <a:pt x="19" y="3319"/>
                </a:lnTo>
                <a:lnTo>
                  <a:pt x="43" y="3134"/>
                </a:lnTo>
                <a:lnTo>
                  <a:pt x="75" y="2951"/>
                </a:lnTo>
                <a:lnTo>
                  <a:pt x="116" y="2773"/>
                </a:lnTo>
                <a:lnTo>
                  <a:pt x="166" y="2597"/>
                </a:lnTo>
                <a:lnTo>
                  <a:pt x="224" y="2426"/>
                </a:lnTo>
                <a:lnTo>
                  <a:pt x="291" y="2258"/>
                </a:lnTo>
                <a:lnTo>
                  <a:pt x="365" y="2094"/>
                </a:lnTo>
                <a:lnTo>
                  <a:pt x="447" y="1935"/>
                </a:lnTo>
                <a:lnTo>
                  <a:pt x="536" y="1780"/>
                </a:lnTo>
                <a:lnTo>
                  <a:pt x="632" y="1630"/>
                </a:lnTo>
                <a:lnTo>
                  <a:pt x="735" y="1485"/>
                </a:lnTo>
                <a:lnTo>
                  <a:pt x="846" y="1346"/>
                </a:lnTo>
                <a:lnTo>
                  <a:pt x="962" y="1212"/>
                </a:lnTo>
                <a:lnTo>
                  <a:pt x="1084" y="1083"/>
                </a:lnTo>
                <a:lnTo>
                  <a:pt x="1213" y="960"/>
                </a:lnTo>
                <a:lnTo>
                  <a:pt x="1348" y="844"/>
                </a:lnTo>
                <a:lnTo>
                  <a:pt x="1487" y="734"/>
                </a:lnTo>
                <a:lnTo>
                  <a:pt x="1632" y="631"/>
                </a:lnTo>
                <a:lnTo>
                  <a:pt x="1782" y="535"/>
                </a:lnTo>
                <a:lnTo>
                  <a:pt x="1938" y="446"/>
                </a:lnTo>
                <a:lnTo>
                  <a:pt x="2097" y="364"/>
                </a:lnTo>
                <a:lnTo>
                  <a:pt x="2261" y="290"/>
                </a:lnTo>
                <a:lnTo>
                  <a:pt x="2430" y="224"/>
                </a:lnTo>
                <a:lnTo>
                  <a:pt x="2601" y="166"/>
                </a:lnTo>
                <a:lnTo>
                  <a:pt x="2777" y="116"/>
                </a:lnTo>
                <a:lnTo>
                  <a:pt x="2956" y="75"/>
                </a:lnTo>
                <a:lnTo>
                  <a:pt x="3138" y="43"/>
                </a:lnTo>
                <a:lnTo>
                  <a:pt x="3323" y="19"/>
                </a:lnTo>
                <a:lnTo>
                  <a:pt x="3512" y="5"/>
                </a:lnTo>
                <a:lnTo>
                  <a:pt x="3702" y="0"/>
                </a:lnTo>
                <a:lnTo>
                  <a:pt x="3892" y="5"/>
                </a:lnTo>
                <a:lnTo>
                  <a:pt x="4081" y="19"/>
                </a:lnTo>
                <a:lnTo>
                  <a:pt x="4266" y="43"/>
                </a:lnTo>
                <a:lnTo>
                  <a:pt x="4448" y="75"/>
                </a:lnTo>
                <a:lnTo>
                  <a:pt x="4627" y="116"/>
                </a:lnTo>
                <a:lnTo>
                  <a:pt x="4803" y="166"/>
                </a:lnTo>
                <a:lnTo>
                  <a:pt x="4974" y="224"/>
                </a:lnTo>
                <a:lnTo>
                  <a:pt x="5143" y="290"/>
                </a:lnTo>
                <a:lnTo>
                  <a:pt x="5307" y="364"/>
                </a:lnTo>
                <a:lnTo>
                  <a:pt x="5466" y="446"/>
                </a:lnTo>
                <a:lnTo>
                  <a:pt x="5622" y="535"/>
                </a:lnTo>
                <a:lnTo>
                  <a:pt x="5772" y="631"/>
                </a:lnTo>
                <a:lnTo>
                  <a:pt x="5917" y="734"/>
                </a:lnTo>
                <a:lnTo>
                  <a:pt x="6056" y="844"/>
                </a:lnTo>
                <a:lnTo>
                  <a:pt x="6191" y="960"/>
                </a:lnTo>
                <a:lnTo>
                  <a:pt x="6320" y="1083"/>
                </a:lnTo>
                <a:lnTo>
                  <a:pt x="6442" y="1212"/>
                </a:lnTo>
                <a:lnTo>
                  <a:pt x="6558" y="1346"/>
                </a:lnTo>
                <a:lnTo>
                  <a:pt x="6669" y="1485"/>
                </a:lnTo>
                <a:lnTo>
                  <a:pt x="6772" y="1630"/>
                </a:lnTo>
                <a:lnTo>
                  <a:pt x="6868" y="1780"/>
                </a:lnTo>
                <a:lnTo>
                  <a:pt x="6957" y="1935"/>
                </a:lnTo>
                <a:lnTo>
                  <a:pt x="7039" y="2094"/>
                </a:lnTo>
                <a:lnTo>
                  <a:pt x="7113" y="2258"/>
                </a:lnTo>
                <a:lnTo>
                  <a:pt x="7180" y="2426"/>
                </a:lnTo>
                <a:lnTo>
                  <a:pt x="7238" y="2597"/>
                </a:lnTo>
                <a:lnTo>
                  <a:pt x="7288" y="2773"/>
                </a:lnTo>
                <a:lnTo>
                  <a:pt x="7329" y="2951"/>
                </a:lnTo>
                <a:lnTo>
                  <a:pt x="7361" y="3134"/>
                </a:lnTo>
                <a:lnTo>
                  <a:pt x="7385" y="3319"/>
                </a:lnTo>
                <a:lnTo>
                  <a:pt x="7399" y="3507"/>
                </a:lnTo>
                <a:lnTo>
                  <a:pt x="7404" y="369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3834077" y="2322140"/>
            <a:ext cx="1475846" cy="1473606"/>
          </a:xfrm>
          <a:custGeom>
            <a:avLst/>
            <a:gdLst>
              <a:gd name="T0" fmla="*/ 5911 w 5926"/>
              <a:gd name="T1" fmla="*/ 3261 h 5918"/>
              <a:gd name="T2" fmla="*/ 5832 w 5926"/>
              <a:gd name="T3" fmla="*/ 3698 h 5918"/>
              <a:gd name="T4" fmla="*/ 5693 w 5926"/>
              <a:gd name="T5" fmla="*/ 4110 h 5918"/>
              <a:gd name="T6" fmla="*/ 5497 w 5926"/>
              <a:gd name="T7" fmla="*/ 4494 h 5918"/>
              <a:gd name="T8" fmla="*/ 5249 w 5926"/>
              <a:gd name="T9" fmla="*/ 4841 h 5918"/>
              <a:gd name="T10" fmla="*/ 4955 w 5926"/>
              <a:gd name="T11" fmla="*/ 5149 h 5918"/>
              <a:gd name="T12" fmla="*/ 4620 w 5926"/>
              <a:gd name="T13" fmla="*/ 5413 h 5918"/>
              <a:gd name="T14" fmla="*/ 4247 w 5926"/>
              <a:gd name="T15" fmla="*/ 5626 h 5918"/>
              <a:gd name="T16" fmla="*/ 3844 w 5926"/>
              <a:gd name="T17" fmla="*/ 5785 h 5918"/>
              <a:gd name="T18" fmla="*/ 3414 w 5926"/>
              <a:gd name="T19" fmla="*/ 5884 h 5918"/>
              <a:gd name="T20" fmla="*/ 2963 w 5926"/>
              <a:gd name="T21" fmla="*/ 5918 h 5918"/>
              <a:gd name="T22" fmla="*/ 2512 w 5926"/>
              <a:gd name="T23" fmla="*/ 5884 h 5918"/>
              <a:gd name="T24" fmla="*/ 2082 w 5926"/>
              <a:gd name="T25" fmla="*/ 5785 h 5918"/>
              <a:gd name="T26" fmla="*/ 1679 w 5926"/>
              <a:gd name="T27" fmla="*/ 5626 h 5918"/>
              <a:gd name="T28" fmla="*/ 1306 w 5926"/>
              <a:gd name="T29" fmla="*/ 5413 h 5918"/>
              <a:gd name="T30" fmla="*/ 970 w 5926"/>
              <a:gd name="T31" fmla="*/ 5149 h 5918"/>
              <a:gd name="T32" fmla="*/ 677 w 5926"/>
              <a:gd name="T33" fmla="*/ 4841 h 5918"/>
              <a:gd name="T34" fmla="*/ 429 w 5926"/>
              <a:gd name="T35" fmla="*/ 4494 h 5918"/>
              <a:gd name="T36" fmla="*/ 233 w 5926"/>
              <a:gd name="T37" fmla="*/ 4110 h 5918"/>
              <a:gd name="T38" fmla="*/ 94 w 5926"/>
              <a:gd name="T39" fmla="*/ 3698 h 5918"/>
              <a:gd name="T40" fmla="*/ 15 w 5926"/>
              <a:gd name="T41" fmla="*/ 3262 h 5918"/>
              <a:gd name="T42" fmla="*/ 3 w 5926"/>
              <a:gd name="T43" fmla="*/ 2807 h 5918"/>
              <a:gd name="T44" fmla="*/ 61 w 5926"/>
              <a:gd name="T45" fmla="*/ 2363 h 5918"/>
              <a:gd name="T46" fmla="*/ 180 w 5926"/>
              <a:gd name="T47" fmla="*/ 1941 h 5918"/>
              <a:gd name="T48" fmla="*/ 357 w 5926"/>
              <a:gd name="T49" fmla="*/ 1548 h 5918"/>
              <a:gd name="T50" fmla="*/ 589 w 5926"/>
              <a:gd name="T51" fmla="*/ 1189 h 5918"/>
              <a:gd name="T52" fmla="*/ 868 w 5926"/>
              <a:gd name="T53" fmla="*/ 867 h 5918"/>
              <a:gd name="T54" fmla="*/ 1190 w 5926"/>
              <a:gd name="T55" fmla="*/ 588 h 5918"/>
              <a:gd name="T56" fmla="*/ 1550 w 5926"/>
              <a:gd name="T57" fmla="*/ 358 h 5918"/>
              <a:gd name="T58" fmla="*/ 1944 w 5926"/>
              <a:gd name="T59" fmla="*/ 179 h 5918"/>
              <a:gd name="T60" fmla="*/ 2366 w 5926"/>
              <a:gd name="T61" fmla="*/ 60 h 5918"/>
              <a:gd name="T62" fmla="*/ 2811 w 5926"/>
              <a:gd name="T63" fmla="*/ 3 h 5918"/>
              <a:gd name="T64" fmla="*/ 3266 w 5926"/>
              <a:gd name="T65" fmla="*/ 15 h 5918"/>
              <a:gd name="T66" fmla="*/ 3703 w 5926"/>
              <a:gd name="T67" fmla="*/ 93 h 5918"/>
              <a:gd name="T68" fmla="*/ 4116 w 5926"/>
              <a:gd name="T69" fmla="*/ 232 h 5918"/>
              <a:gd name="T70" fmla="*/ 4500 w 5926"/>
              <a:gd name="T71" fmla="*/ 429 h 5918"/>
              <a:gd name="T72" fmla="*/ 4848 w 5926"/>
              <a:gd name="T73" fmla="*/ 676 h 5918"/>
              <a:gd name="T74" fmla="*/ 5156 w 5926"/>
              <a:gd name="T75" fmla="*/ 970 h 5918"/>
              <a:gd name="T76" fmla="*/ 5420 w 5926"/>
              <a:gd name="T77" fmla="*/ 1305 h 5918"/>
              <a:gd name="T78" fmla="*/ 5634 w 5926"/>
              <a:gd name="T79" fmla="*/ 1676 h 5918"/>
              <a:gd name="T80" fmla="*/ 5792 w 5926"/>
              <a:gd name="T81" fmla="*/ 2079 h 5918"/>
              <a:gd name="T82" fmla="*/ 5892 w 5926"/>
              <a:gd name="T83" fmla="*/ 2509 h 5918"/>
              <a:gd name="T84" fmla="*/ 5926 w 5926"/>
              <a:gd name="T85" fmla="*/ 2959 h 5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926" h="5918">
                <a:moveTo>
                  <a:pt x="5926" y="2959"/>
                </a:moveTo>
                <a:lnTo>
                  <a:pt x="5923" y="3111"/>
                </a:lnTo>
                <a:lnTo>
                  <a:pt x="5911" y="3261"/>
                </a:lnTo>
                <a:lnTo>
                  <a:pt x="5892" y="3410"/>
                </a:lnTo>
                <a:lnTo>
                  <a:pt x="5865" y="3555"/>
                </a:lnTo>
                <a:lnTo>
                  <a:pt x="5832" y="3698"/>
                </a:lnTo>
                <a:lnTo>
                  <a:pt x="5792" y="3839"/>
                </a:lnTo>
                <a:lnTo>
                  <a:pt x="5746" y="3976"/>
                </a:lnTo>
                <a:lnTo>
                  <a:pt x="5693" y="4110"/>
                </a:lnTo>
                <a:lnTo>
                  <a:pt x="5634" y="4241"/>
                </a:lnTo>
                <a:lnTo>
                  <a:pt x="5568" y="4370"/>
                </a:lnTo>
                <a:lnTo>
                  <a:pt x="5497" y="4494"/>
                </a:lnTo>
                <a:lnTo>
                  <a:pt x="5420" y="4614"/>
                </a:lnTo>
                <a:lnTo>
                  <a:pt x="5337" y="4730"/>
                </a:lnTo>
                <a:lnTo>
                  <a:pt x="5249" y="4841"/>
                </a:lnTo>
                <a:lnTo>
                  <a:pt x="5156" y="4949"/>
                </a:lnTo>
                <a:lnTo>
                  <a:pt x="5058" y="5051"/>
                </a:lnTo>
                <a:lnTo>
                  <a:pt x="4955" y="5149"/>
                </a:lnTo>
                <a:lnTo>
                  <a:pt x="4848" y="5242"/>
                </a:lnTo>
                <a:lnTo>
                  <a:pt x="4735" y="5330"/>
                </a:lnTo>
                <a:lnTo>
                  <a:pt x="4620" y="5413"/>
                </a:lnTo>
                <a:lnTo>
                  <a:pt x="4500" y="5490"/>
                </a:lnTo>
                <a:lnTo>
                  <a:pt x="4376" y="5561"/>
                </a:lnTo>
                <a:lnTo>
                  <a:pt x="4247" y="5626"/>
                </a:lnTo>
                <a:lnTo>
                  <a:pt x="4116" y="5685"/>
                </a:lnTo>
                <a:lnTo>
                  <a:pt x="3982" y="5738"/>
                </a:lnTo>
                <a:lnTo>
                  <a:pt x="3844" y="5785"/>
                </a:lnTo>
                <a:lnTo>
                  <a:pt x="3703" y="5825"/>
                </a:lnTo>
                <a:lnTo>
                  <a:pt x="3560" y="5858"/>
                </a:lnTo>
                <a:lnTo>
                  <a:pt x="3414" y="5884"/>
                </a:lnTo>
                <a:lnTo>
                  <a:pt x="3266" y="5902"/>
                </a:lnTo>
                <a:lnTo>
                  <a:pt x="3115" y="5914"/>
                </a:lnTo>
                <a:lnTo>
                  <a:pt x="2963" y="5918"/>
                </a:lnTo>
                <a:lnTo>
                  <a:pt x="2811" y="5914"/>
                </a:lnTo>
                <a:lnTo>
                  <a:pt x="2660" y="5902"/>
                </a:lnTo>
                <a:lnTo>
                  <a:pt x="2512" y="5884"/>
                </a:lnTo>
                <a:lnTo>
                  <a:pt x="2366" y="5858"/>
                </a:lnTo>
                <a:lnTo>
                  <a:pt x="2223" y="5825"/>
                </a:lnTo>
                <a:lnTo>
                  <a:pt x="2082" y="5785"/>
                </a:lnTo>
                <a:lnTo>
                  <a:pt x="1944" y="5738"/>
                </a:lnTo>
                <a:lnTo>
                  <a:pt x="1810" y="5685"/>
                </a:lnTo>
                <a:lnTo>
                  <a:pt x="1679" y="5626"/>
                </a:lnTo>
                <a:lnTo>
                  <a:pt x="1550" y="5561"/>
                </a:lnTo>
                <a:lnTo>
                  <a:pt x="1426" y="5490"/>
                </a:lnTo>
                <a:lnTo>
                  <a:pt x="1306" y="5413"/>
                </a:lnTo>
                <a:lnTo>
                  <a:pt x="1190" y="5330"/>
                </a:lnTo>
                <a:lnTo>
                  <a:pt x="1078" y="5242"/>
                </a:lnTo>
                <a:lnTo>
                  <a:pt x="970" y="5149"/>
                </a:lnTo>
                <a:lnTo>
                  <a:pt x="868" y="5051"/>
                </a:lnTo>
                <a:lnTo>
                  <a:pt x="770" y="4949"/>
                </a:lnTo>
                <a:lnTo>
                  <a:pt x="677" y="4841"/>
                </a:lnTo>
                <a:lnTo>
                  <a:pt x="589" y="4730"/>
                </a:lnTo>
                <a:lnTo>
                  <a:pt x="506" y="4614"/>
                </a:lnTo>
                <a:lnTo>
                  <a:pt x="429" y="4494"/>
                </a:lnTo>
                <a:lnTo>
                  <a:pt x="357" y="4370"/>
                </a:lnTo>
                <a:lnTo>
                  <a:pt x="292" y="4241"/>
                </a:lnTo>
                <a:lnTo>
                  <a:pt x="233" y="4110"/>
                </a:lnTo>
                <a:lnTo>
                  <a:pt x="180" y="3976"/>
                </a:lnTo>
                <a:lnTo>
                  <a:pt x="133" y="3839"/>
                </a:lnTo>
                <a:lnTo>
                  <a:pt x="94" y="3698"/>
                </a:lnTo>
                <a:lnTo>
                  <a:pt x="61" y="3555"/>
                </a:lnTo>
                <a:lnTo>
                  <a:pt x="34" y="3410"/>
                </a:lnTo>
                <a:lnTo>
                  <a:pt x="15" y="3262"/>
                </a:lnTo>
                <a:lnTo>
                  <a:pt x="3" y="3111"/>
                </a:lnTo>
                <a:lnTo>
                  <a:pt x="0" y="2959"/>
                </a:lnTo>
                <a:lnTo>
                  <a:pt x="3" y="2807"/>
                </a:lnTo>
                <a:lnTo>
                  <a:pt x="15" y="2657"/>
                </a:lnTo>
                <a:lnTo>
                  <a:pt x="34" y="2509"/>
                </a:lnTo>
                <a:lnTo>
                  <a:pt x="61" y="2363"/>
                </a:lnTo>
                <a:lnTo>
                  <a:pt x="94" y="2219"/>
                </a:lnTo>
                <a:lnTo>
                  <a:pt x="133" y="2079"/>
                </a:lnTo>
                <a:lnTo>
                  <a:pt x="180" y="1941"/>
                </a:lnTo>
                <a:lnTo>
                  <a:pt x="233" y="1807"/>
                </a:lnTo>
                <a:lnTo>
                  <a:pt x="292" y="1676"/>
                </a:lnTo>
                <a:lnTo>
                  <a:pt x="357" y="1548"/>
                </a:lnTo>
                <a:lnTo>
                  <a:pt x="429" y="1425"/>
                </a:lnTo>
                <a:lnTo>
                  <a:pt x="506" y="1305"/>
                </a:lnTo>
                <a:lnTo>
                  <a:pt x="589" y="1189"/>
                </a:lnTo>
                <a:lnTo>
                  <a:pt x="677" y="1077"/>
                </a:lnTo>
                <a:lnTo>
                  <a:pt x="770" y="970"/>
                </a:lnTo>
                <a:lnTo>
                  <a:pt x="868" y="867"/>
                </a:lnTo>
                <a:lnTo>
                  <a:pt x="970" y="769"/>
                </a:lnTo>
                <a:lnTo>
                  <a:pt x="1078" y="676"/>
                </a:lnTo>
                <a:lnTo>
                  <a:pt x="1190" y="588"/>
                </a:lnTo>
                <a:lnTo>
                  <a:pt x="1306" y="506"/>
                </a:lnTo>
                <a:lnTo>
                  <a:pt x="1426" y="429"/>
                </a:lnTo>
                <a:lnTo>
                  <a:pt x="1550" y="358"/>
                </a:lnTo>
                <a:lnTo>
                  <a:pt x="1679" y="292"/>
                </a:lnTo>
                <a:lnTo>
                  <a:pt x="1810" y="232"/>
                </a:lnTo>
                <a:lnTo>
                  <a:pt x="1944" y="179"/>
                </a:lnTo>
                <a:lnTo>
                  <a:pt x="2082" y="133"/>
                </a:lnTo>
                <a:lnTo>
                  <a:pt x="2223" y="93"/>
                </a:lnTo>
                <a:lnTo>
                  <a:pt x="2366" y="60"/>
                </a:lnTo>
                <a:lnTo>
                  <a:pt x="2512" y="34"/>
                </a:lnTo>
                <a:lnTo>
                  <a:pt x="2660" y="15"/>
                </a:lnTo>
                <a:lnTo>
                  <a:pt x="2811" y="3"/>
                </a:lnTo>
                <a:lnTo>
                  <a:pt x="2963" y="0"/>
                </a:lnTo>
                <a:lnTo>
                  <a:pt x="3115" y="3"/>
                </a:lnTo>
                <a:lnTo>
                  <a:pt x="3266" y="15"/>
                </a:lnTo>
                <a:lnTo>
                  <a:pt x="3414" y="34"/>
                </a:lnTo>
                <a:lnTo>
                  <a:pt x="3560" y="60"/>
                </a:lnTo>
                <a:lnTo>
                  <a:pt x="3703" y="93"/>
                </a:lnTo>
                <a:lnTo>
                  <a:pt x="3844" y="133"/>
                </a:lnTo>
                <a:lnTo>
                  <a:pt x="3982" y="179"/>
                </a:lnTo>
                <a:lnTo>
                  <a:pt x="4116" y="232"/>
                </a:lnTo>
                <a:lnTo>
                  <a:pt x="4247" y="292"/>
                </a:lnTo>
                <a:lnTo>
                  <a:pt x="4376" y="358"/>
                </a:lnTo>
                <a:lnTo>
                  <a:pt x="4500" y="429"/>
                </a:lnTo>
                <a:lnTo>
                  <a:pt x="4620" y="506"/>
                </a:lnTo>
                <a:lnTo>
                  <a:pt x="4735" y="588"/>
                </a:lnTo>
                <a:lnTo>
                  <a:pt x="4848" y="676"/>
                </a:lnTo>
                <a:lnTo>
                  <a:pt x="4955" y="769"/>
                </a:lnTo>
                <a:lnTo>
                  <a:pt x="5058" y="867"/>
                </a:lnTo>
                <a:lnTo>
                  <a:pt x="5156" y="970"/>
                </a:lnTo>
                <a:lnTo>
                  <a:pt x="5249" y="1077"/>
                </a:lnTo>
                <a:lnTo>
                  <a:pt x="5337" y="1189"/>
                </a:lnTo>
                <a:lnTo>
                  <a:pt x="5420" y="1305"/>
                </a:lnTo>
                <a:lnTo>
                  <a:pt x="5497" y="1425"/>
                </a:lnTo>
                <a:lnTo>
                  <a:pt x="5568" y="1548"/>
                </a:lnTo>
                <a:lnTo>
                  <a:pt x="5634" y="1676"/>
                </a:lnTo>
                <a:lnTo>
                  <a:pt x="5693" y="1807"/>
                </a:lnTo>
                <a:lnTo>
                  <a:pt x="5746" y="1941"/>
                </a:lnTo>
                <a:lnTo>
                  <a:pt x="5792" y="2079"/>
                </a:lnTo>
                <a:lnTo>
                  <a:pt x="5832" y="2219"/>
                </a:lnTo>
                <a:lnTo>
                  <a:pt x="5865" y="2363"/>
                </a:lnTo>
                <a:lnTo>
                  <a:pt x="5892" y="2509"/>
                </a:lnTo>
                <a:lnTo>
                  <a:pt x="5911" y="2657"/>
                </a:lnTo>
                <a:lnTo>
                  <a:pt x="5923" y="2807"/>
                </a:lnTo>
                <a:lnTo>
                  <a:pt x="5926" y="295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4075321" y="2562637"/>
            <a:ext cx="993358" cy="992612"/>
          </a:xfrm>
          <a:custGeom>
            <a:avLst/>
            <a:gdLst>
              <a:gd name="T0" fmla="*/ 3982 w 3992"/>
              <a:gd name="T1" fmla="*/ 2197 h 3986"/>
              <a:gd name="T2" fmla="*/ 3929 w 3992"/>
              <a:gd name="T3" fmla="*/ 2491 h 3986"/>
              <a:gd name="T4" fmla="*/ 3834 w 3992"/>
              <a:gd name="T5" fmla="*/ 2769 h 3986"/>
              <a:gd name="T6" fmla="*/ 3703 w 3992"/>
              <a:gd name="T7" fmla="*/ 3026 h 3986"/>
              <a:gd name="T8" fmla="*/ 3536 w 3992"/>
              <a:gd name="T9" fmla="*/ 3260 h 3986"/>
              <a:gd name="T10" fmla="*/ 3338 w 3992"/>
              <a:gd name="T11" fmla="*/ 3469 h 3986"/>
              <a:gd name="T12" fmla="*/ 3112 w 3992"/>
              <a:gd name="T13" fmla="*/ 3646 h 3986"/>
              <a:gd name="T14" fmla="*/ 2862 w 3992"/>
              <a:gd name="T15" fmla="*/ 3790 h 3986"/>
              <a:gd name="T16" fmla="*/ 2589 w 3992"/>
              <a:gd name="T17" fmla="*/ 3897 h 3986"/>
              <a:gd name="T18" fmla="*/ 2300 w 3992"/>
              <a:gd name="T19" fmla="*/ 3963 h 3986"/>
              <a:gd name="T20" fmla="*/ 1996 w 3992"/>
              <a:gd name="T21" fmla="*/ 3986 h 3986"/>
              <a:gd name="T22" fmla="*/ 1692 w 3992"/>
              <a:gd name="T23" fmla="*/ 3963 h 3986"/>
              <a:gd name="T24" fmla="*/ 1403 w 3992"/>
              <a:gd name="T25" fmla="*/ 3897 h 3986"/>
              <a:gd name="T26" fmla="*/ 1130 w 3992"/>
              <a:gd name="T27" fmla="*/ 3790 h 3986"/>
              <a:gd name="T28" fmla="*/ 880 w 3992"/>
              <a:gd name="T29" fmla="*/ 3646 h 3986"/>
              <a:gd name="T30" fmla="*/ 654 w 3992"/>
              <a:gd name="T31" fmla="*/ 3469 h 3986"/>
              <a:gd name="T32" fmla="*/ 456 w 3992"/>
              <a:gd name="T33" fmla="*/ 3260 h 3986"/>
              <a:gd name="T34" fmla="*/ 289 w 3992"/>
              <a:gd name="T35" fmla="*/ 3026 h 3986"/>
              <a:gd name="T36" fmla="*/ 158 w 3992"/>
              <a:gd name="T37" fmla="*/ 2769 h 3986"/>
              <a:gd name="T38" fmla="*/ 63 w 3992"/>
              <a:gd name="T39" fmla="*/ 2491 h 3986"/>
              <a:gd name="T40" fmla="*/ 10 w 3992"/>
              <a:gd name="T41" fmla="*/ 2197 h 3986"/>
              <a:gd name="T42" fmla="*/ 3 w 3992"/>
              <a:gd name="T43" fmla="*/ 1891 h 3986"/>
              <a:gd name="T44" fmla="*/ 41 w 3992"/>
              <a:gd name="T45" fmla="*/ 1592 h 3986"/>
              <a:gd name="T46" fmla="*/ 121 w 3992"/>
              <a:gd name="T47" fmla="*/ 1308 h 3986"/>
              <a:gd name="T48" fmla="*/ 242 w 3992"/>
              <a:gd name="T49" fmla="*/ 1043 h 3986"/>
              <a:gd name="T50" fmla="*/ 397 w 3992"/>
              <a:gd name="T51" fmla="*/ 800 h 3986"/>
              <a:gd name="T52" fmla="*/ 585 w 3992"/>
              <a:gd name="T53" fmla="*/ 584 h 3986"/>
              <a:gd name="T54" fmla="*/ 802 w 3992"/>
              <a:gd name="T55" fmla="*/ 396 h 3986"/>
              <a:gd name="T56" fmla="*/ 1045 w 3992"/>
              <a:gd name="T57" fmla="*/ 241 h 3986"/>
              <a:gd name="T58" fmla="*/ 1310 w 3992"/>
              <a:gd name="T59" fmla="*/ 121 h 3986"/>
              <a:gd name="T60" fmla="*/ 1594 w 3992"/>
              <a:gd name="T61" fmla="*/ 41 h 3986"/>
              <a:gd name="T62" fmla="*/ 1893 w 3992"/>
              <a:gd name="T63" fmla="*/ 3 h 3986"/>
              <a:gd name="T64" fmla="*/ 2200 w 3992"/>
              <a:gd name="T65" fmla="*/ 10 h 3986"/>
              <a:gd name="T66" fmla="*/ 2495 w 3992"/>
              <a:gd name="T67" fmla="*/ 63 h 3986"/>
              <a:gd name="T68" fmla="*/ 2772 w 3992"/>
              <a:gd name="T69" fmla="*/ 157 h 3986"/>
              <a:gd name="T70" fmla="*/ 3031 w 3992"/>
              <a:gd name="T71" fmla="*/ 289 h 3986"/>
              <a:gd name="T72" fmla="*/ 3265 w 3992"/>
              <a:gd name="T73" fmla="*/ 455 h 3986"/>
              <a:gd name="T74" fmla="*/ 3473 w 3992"/>
              <a:gd name="T75" fmla="*/ 653 h 3986"/>
              <a:gd name="T76" fmla="*/ 3651 w 3992"/>
              <a:gd name="T77" fmla="*/ 878 h 3986"/>
              <a:gd name="T78" fmla="*/ 3794 w 3992"/>
              <a:gd name="T79" fmla="*/ 1129 h 3986"/>
              <a:gd name="T80" fmla="*/ 3902 w 3992"/>
              <a:gd name="T81" fmla="*/ 1401 h 3986"/>
              <a:gd name="T82" fmla="*/ 3969 w 3992"/>
              <a:gd name="T83" fmla="*/ 1690 h 3986"/>
              <a:gd name="T84" fmla="*/ 3992 w 3992"/>
              <a:gd name="T85" fmla="*/ 1993 h 39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992" h="3986">
                <a:moveTo>
                  <a:pt x="3992" y="1993"/>
                </a:moveTo>
                <a:lnTo>
                  <a:pt x="3989" y="2096"/>
                </a:lnTo>
                <a:lnTo>
                  <a:pt x="3982" y="2197"/>
                </a:lnTo>
                <a:lnTo>
                  <a:pt x="3969" y="2296"/>
                </a:lnTo>
                <a:lnTo>
                  <a:pt x="3951" y="2395"/>
                </a:lnTo>
                <a:lnTo>
                  <a:pt x="3929" y="2491"/>
                </a:lnTo>
                <a:lnTo>
                  <a:pt x="3902" y="2585"/>
                </a:lnTo>
                <a:lnTo>
                  <a:pt x="3871" y="2678"/>
                </a:lnTo>
                <a:lnTo>
                  <a:pt x="3834" y="2769"/>
                </a:lnTo>
                <a:lnTo>
                  <a:pt x="3794" y="2857"/>
                </a:lnTo>
                <a:lnTo>
                  <a:pt x="3750" y="2943"/>
                </a:lnTo>
                <a:lnTo>
                  <a:pt x="3703" y="3026"/>
                </a:lnTo>
                <a:lnTo>
                  <a:pt x="3651" y="3107"/>
                </a:lnTo>
                <a:lnTo>
                  <a:pt x="3595" y="3185"/>
                </a:lnTo>
                <a:lnTo>
                  <a:pt x="3536" y="3260"/>
                </a:lnTo>
                <a:lnTo>
                  <a:pt x="3473" y="3334"/>
                </a:lnTo>
                <a:lnTo>
                  <a:pt x="3407" y="3403"/>
                </a:lnTo>
                <a:lnTo>
                  <a:pt x="3338" y="3469"/>
                </a:lnTo>
                <a:lnTo>
                  <a:pt x="3265" y="3531"/>
                </a:lnTo>
                <a:lnTo>
                  <a:pt x="3190" y="3590"/>
                </a:lnTo>
                <a:lnTo>
                  <a:pt x="3112" y="3646"/>
                </a:lnTo>
                <a:lnTo>
                  <a:pt x="3031" y="3698"/>
                </a:lnTo>
                <a:lnTo>
                  <a:pt x="2947" y="3746"/>
                </a:lnTo>
                <a:lnTo>
                  <a:pt x="2862" y="3790"/>
                </a:lnTo>
                <a:lnTo>
                  <a:pt x="2772" y="3830"/>
                </a:lnTo>
                <a:lnTo>
                  <a:pt x="2682" y="3865"/>
                </a:lnTo>
                <a:lnTo>
                  <a:pt x="2589" y="3897"/>
                </a:lnTo>
                <a:lnTo>
                  <a:pt x="2495" y="3923"/>
                </a:lnTo>
                <a:lnTo>
                  <a:pt x="2398" y="3946"/>
                </a:lnTo>
                <a:lnTo>
                  <a:pt x="2300" y="3963"/>
                </a:lnTo>
                <a:lnTo>
                  <a:pt x="2200" y="3976"/>
                </a:lnTo>
                <a:lnTo>
                  <a:pt x="2098" y="3984"/>
                </a:lnTo>
                <a:lnTo>
                  <a:pt x="1996" y="3986"/>
                </a:lnTo>
                <a:lnTo>
                  <a:pt x="1893" y="3984"/>
                </a:lnTo>
                <a:lnTo>
                  <a:pt x="1792" y="3976"/>
                </a:lnTo>
                <a:lnTo>
                  <a:pt x="1692" y="3963"/>
                </a:lnTo>
                <a:lnTo>
                  <a:pt x="1594" y="3946"/>
                </a:lnTo>
                <a:lnTo>
                  <a:pt x="1497" y="3923"/>
                </a:lnTo>
                <a:lnTo>
                  <a:pt x="1403" y="3897"/>
                </a:lnTo>
                <a:lnTo>
                  <a:pt x="1310" y="3865"/>
                </a:lnTo>
                <a:lnTo>
                  <a:pt x="1220" y="3830"/>
                </a:lnTo>
                <a:lnTo>
                  <a:pt x="1130" y="3790"/>
                </a:lnTo>
                <a:lnTo>
                  <a:pt x="1045" y="3746"/>
                </a:lnTo>
                <a:lnTo>
                  <a:pt x="961" y="3698"/>
                </a:lnTo>
                <a:lnTo>
                  <a:pt x="880" y="3646"/>
                </a:lnTo>
                <a:lnTo>
                  <a:pt x="802" y="3590"/>
                </a:lnTo>
                <a:lnTo>
                  <a:pt x="727" y="3531"/>
                </a:lnTo>
                <a:lnTo>
                  <a:pt x="654" y="3469"/>
                </a:lnTo>
                <a:lnTo>
                  <a:pt x="585" y="3403"/>
                </a:lnTo>
                <a:lnTo>
                  <a:pt x="519" y="3334"/>
                </a:lnTo>
                <a:lnTo>
                  <a:pt x="456" y="3260"/>
                </a:lnTo>
                <a:lnTo>
                  <a:pt x="397" y="3185"/>
                </a:lnTo>
                <a:lnTo>
                  <a:pt x="341" y="3107"/>
                </a:lnTo>
                <a:lnTo>
                  <a:pt x="289" y="3026"/>
                </a:lnTo>
                <a:lnTo>
                  <a:pt x="242" y="2943"/>
                </a:lnTo>
                <a:lnTo>
                  <a:pt x="198" y="2857"/>
                </a:lnTo>
                <a:lnTo>
                  <a:pt x="158" y="2769"/>
                </a:lnTo>
                <a:lnTo>
                  <a:pt x="121" y="2678"/>
                </a:lnTo>
                <a:lnTo>
                  <a:pt x="90" y="2585"/>
                </a:lnTo>
                <a:lnTo>
                  <a:pt x="63" y="2491"/>
                </a:lnTo>
                <a:lnTo>
                  <a:pt x="41" y="2395"/>
                </a:lnTo>
                <a:lnTo>
                  <a:pt x="23" y="2296"/>
                </a:lnTo>
                <a:lnTo>
                  <a:pt x="10" y="2197"/>
                </a:lnTo>
                <a:lnTo>
                  <a:pt x="3" y="2096"/>
                </a:lnTo>
                <a:lnTo>
                  <a:pt x="0" y="1993"/>
                </a:lnTo>
                <a:lnTo>
                  <a:pt x="3" y="1891"/>
                </a:lnTo>
                <a:lnTo>
                  <a:pt x="10" y="1789"/>
                </a:lnTo>
                <a:lnTo>
                  <a:pt x="23" y="1690"/>
                </a:lnTo>
                <a:lnTo>
                  <a:pt x="41" y="1592"/>
                </a:lnTo>
                <a:lnTo>
                  <a:pt x="63" y="1495"/>
                </a:lnTo>
                <a:lnTo>
                  <a:pt x="90" y="1401"/>
                </a:lnTo>
                <a:lnTo>
                  <a:pt x="121" y="1308"/>
                </a:lnTo>
                <a:lnTo>
                  <a:pt x="158" y="1217"/>
                </a:lnTo>
                <a:lnTo>
                  <a:pt x="198" y="1129"/>
                </a:lnTo>
                <a:lnTo>
                  <a:pt x="242" y="1043"/>
                </a:lnTo>
                <a:lnTo>
                  <a:pt x="289" y="959"/>
                </a:lnTo>
                <a:lnTo>
                  <a:pt x="341" y="878"/>
                </a:lnTo>
                <a:lnTo>
                  <a:pt x="397" y="800"/>
                </a:lnTo>
                <a:lnTo>
                  <a:pt x="456" y="725"/>
                </a:lnTo>
                <a:lnTo>
                  <a:pt x="519" y="653"/>
                </a:lnTo>
                <a:lnTo>
                  <a:pt x="585" y="584"/>
                </a:lnTo>
                <a:lnTo>
                  <a:pt x="654" y="518"/>
                </a:lnTo>
                <a:lnTo>
                  <a:pt x="727" y="455"/>
                </a:lnTo>
                <a:lnTo>
                  <a:pt x="802" y="396"/>
                </a:lnTo>
                <a:lnTo>
                  <a:pt x="880" y="340"/>
                </a:lnTo>
                <a:lnTo>
                  <a:pt x="961" y="289"/>
                </a:lnTo>
                <a:lnTo>
                  <a:pt x="1045" y="241"/>
                </a:lnTo>
                <a:lnTo>
                  <a:pt x="1130" y="197"/>
                </a:lnTo>
                <a:lnTo>
                  <a:pt x="1220" y="157"/>
                </a:lnTo>
                <a:lnTo>
                  <a:pt x="1310" y="121"/>
                </a:lnTo>
                <a:lnTo>
                  <a:pt x="1403" y="90"/>
                </a:lnTo>
                <a:lnTo>
                  <a:pt x="1497" y="63"/>
                </a:lnTo>
                <a:lnTo>
                  <a:pt x="1594" y="41"/>
                </a:lnTo>
                <a:lnTo>
                  <a:pt x="1692" y="23"/>
                </a:lnTo>
                <a:lnTo>
                  <a:pt x="1792" y="10"/>
                </a:lnTo>
                <a:lnTo>
                  <a:pt x="1893" y="3"/>
                </a:lnTo>
                <a:lnTo>
                  <a:pt x="1996" y="0"/>
                </a:lnTo>
                <a:lnTo>
                  <a:pt x="2098" y="3"/>
                </a:lnTo>
                <a:lnTo>
                  <a:pt x="2200" y="10"/>
                </a:lnTo>
                <a:lnTo>
                  <a:pt x="2300" y="23"/>
                </a:lnTo>
                <a:lnTo>
                  <a:pt x="2398" y="41"/>
                </a:lnTo>
                <a:lnTo>
                  <a:pt x="2495" y="63"/>
                </a:lnTo>
                <a:lnTo>
                  <a:pt x="2589" y="90"/>
                </a:lnTo>
                <a:lnTo>
                  <a:pt x="2682" y="121"/>
                </a:lnTo>
                <a:lnTo>
                  <a:pt x="2772" y="157"/>
                </a:lnTo>
                <a:lnTo>
                  <a:pt x="2862" y="197"/>
                </a:lnTo>
                <a:lnTo>
                  <a:pt x="2947" y="241"/>
                </a:lnTo>
                <a:lnTo>
                  <a:pt x="3031" y="289"/>
                </a:lnTo>
                <a:lnTo>
                  <a:pt x="3112" y="340"/>
                </a:lnTo>
                <a:lnTo>
                  <a:pt x="3190" y="396"/>
                </a:lnTo>
                <a:lnTo>
                  <a:pt x="3265" y="455"/>
                </a:lnTo>
                <a:lnTo>
                  <a:pt x="3338" y="518"/>
                </a:lnTo>
                <a:lnTo>
                  <a:pt x="3407" y="584"/>
                </a:lnTo>
                <a:lnTo>
                  <a:pt x="3473" y="653"/>
                </a:lnTo>
                <a:lnTo>
                  <a:pt x="3536" y="725"/>
                </a:lnTo>
                <a:lnTo>
                  <a:pt x="3595" y="800"/>
                </a:lnTo>
                <a:lnTo>
                  <a:pt x="3651" y="878"/>
                </a:lnTo>
                <a:lnTo>
                  <a:pt x="3703" y="959"/>
                </a:lnTo>
                <a:lnTo>
                  <a:pt x="3750" y="1043"/>
                </a:lnTo>
                <a:lnTo>
                  <a:pt x="3794" y="1129"/>
                </a:lnTo>
                <a:lnTo>
                  <a:pt x="3834" y="1217"/>
                </a:lnTo>
                <a:lnTo>
                  <a:pt x="3871" y="1308"/>
                </a:lnTo>
                <a:lnTo>
                  <a:pt x="3902" y="1401"/>
                </a:lnTo>
                <a:lnTo>
                  <a:pt x="3929" y="1495"/>
                </a:lnTo>
                <a:lnTo>
                  <a:pt x="3951" y="1592"/>
                </a:lnTo>
                <a:lnTo>
                  <a:pt x="3969" y="1690"/>
                </a:lnTo>
                <a:lnTo>
                  <a:pt x="3982" y="1789"/>
                </a:lnTo>
                <a:lnTo>
                  <a:pt x="3989" y="1891"/>
                </a:lnTo>
                <a:lnTo>
                  <a:pt x="3992" y="199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3823621" y="3630684"/>
            <a:ext cx="331618" cy="921657"/>
          </a:xfrm>
          <a:custGeom>
            <a:avLst/>
            <a:gdLst>
              <a:gd name="T0" fmla="*/ 112 w 1333"/>
              <a:gd name="T1" fmla="*/ 0 h 3700"/>
              <a:gd name="T2" fmla="*/ 0 w 1333"/>
              <a:gd name="T3" fmla="*/ 3529 h 3700"/>
              <a:gd name="T4" fmla="*/ 2 w 1333"/>
              <a:gd name="T5" fmla="*/ 3539 h 3700"/>
              <a:gd name="T6" fmla="*/ 11 w 1333"/>
              <a:gd name="T7" fmla="*/ 3565 h 3700"/>
              <a:gd name="T8" fmla="*/ 20 w 1333"/>
              <a:gd name="T9" fmla="*/ 3582 h 3700"/>
              <a:gd name="T10" fmla="*/ 31 w 1333"/>
              <a:gd name="T11" fmla="*/ 3600 h 3700"/>
              <a:gd name="T12" fmla="*/ 37 w 1333"/>
              <a:gd name="T13" fmla="*/ 3610 h 3700"/>
              <a:gd name="T14" fmla="*/ 45 w 1333"/>
              <a:gd name="T15" fmla="*/ 3619 h 3700"/>
              <a:gd name="T16" fmla="*/ 53 w 1333"/>
              <a:gd name="T17" fmla="*/ 3629 h 3700"/>
              <a:gd name="T18" fmla="*/ 62 w 1333"/>
              <a:gd name="T19" fmla="*/ 3638 h 3700"/>
              <a:gd name="T20" fmla="*/ 72 w 1333"/>
              <a:gd name="T21" fmla="*/ 3647 h 3700"/>
              <a:gd name="T22" fmla="*/ 83 w 1333"/>
              <a:gd name="T23" fmla="*/ 3656 h 3700"/>
              <a:gd name="T24" fmla="*/ 96 w 1333"/>
              <a:gd name="T25" fmla="*/ 3664 h 3700"/>
              <a:gd name="T26" fmla="*/ 110 w 1333"/>
              <a:gd name="T27" fmla="*/ 3671 h 3700"/>
              <a:gd name="T28" fmla="*/ 124 w 1333"/>
              <a:gd name="T29" fmla="*/ 3678 h 3700"/>
              <a:gd name="T30" fmla="*/ 140 w 1333"/>
              <a:gd name="T31" fmla="*/ 3685 h 3700"/>
              <a:gd name="T32" fmla="*/ 157 w 1333"/>
              <a:gd name="T33" fmla="*/ 3690 h 3700"/>
              <a:gd name="T34" fmla="*/ 175 w 1333"/>
              <a:gd name="T35" fmla="*/ 3694 h 3700"/>
              <a:gd name="T36" fmla="*/ 194 w 1333"/>
              <a:gd name="T37" fmla="*/ 3697 h 3700"/>
              <a:gd name="T38" fmla="*/ 215 w 1333"/>
              <a:gd name="T39" fmla="*/ 3700 h 3700"/>
              <a:gd name="T40" fmla="*/ 237 w 1333"/>
              <a:gd name="T41" fmla="*/ 3700 h 3700"/>
              <a:gd name="T42" fmla="*/ 261 w 1333"/>
              <a:gd name="T43" fmla="*/ 3700 h 3700"/>
              <a:gd name="T44" fmla="*/ 286 w 1333"/>
              <a:gd name="T45" fmla="*/ 3698 h 3700"/>
              <a:gd name="T46" fmla="*/ 312 w 1333"/>
              <a:gd name="T47" fmla="*/ 3694 h 3700"/>
              <a:gd name="T48" fmla="*/ 340 w 1333"/>
              <a:gd name="T49" fmla="*/ 3689 h 3700"/>
              <a:gd name="T50" fmla="*/ 370 w 1333"/>
              <a:gd name="T51" fmla="*/ 3681 h 3700"/>
              <a:gd name="T52" fmla="*/ 1333 w 1333"/>
              <a:gd name="T53" fmla="*/ 997 h 3700"/>
              <a:gd name="T54" fmla="*/ 1326 w 1333"/>
              <a:gd name="T55" fmla="*/ 994 h 3700"/>
              <a:gd name="T56" fmla="*/ 1306 w 1333"/>
              <a:gd name="T57" fmla="*/ 984 h 3700"/>
              <a:gd name="T58" fmla="*/ 1274 w 1333"/>
              <a:gd name="T59" fmla="*/ 966 h 3700"/>
              <a:gd name="T60" fmla="*/ 1231 w 1333"/>
              <a:gd name="T61" fmla="*/ 941 h 3700"/>
              <a:gd name="T62" fmla="*/ 1177 w 1333"/>
              <a:gd name="T63" fmla="*/ 909 h 3700"/>
              <a:gd name="T64" fmla="*/ 1113 w 1333"/>
              <a:gd name="T65" fmla="*/ 869 h 3700"/>
              <a:gd name="T66" fmla="*/ 1077 w 1333"/>
              <a:gd name="T67" fmla="*/ 846 h 3700"/>
              <a:gd name="T68" fmla="*/ 1040 w 1333"/>
              <a:gd name="T69" fmla="*/ 821 h 3700"/>
              <a:gd name="T70" fmla="*/ 1001 w 1333"/>
              <a:gd name="T71" fmla="*/ 794 h 3700"/>
              <a:gd name="T72" fmla="*/ 959 w 1333"/>
              <a:gd name="T73" fmla="*/ 765 h 3700"/>
              <a:gd name="T74" fmla="*/ 916 w 1333"/>
              <a:gd name="T75" fmla="*/ 734 h 3700"/>
              <a:gd name="T76" fmla="*/ 871 w 1333"/>
              <a:gd name="T77" fmla="*/ 701 h 3700"/>
              <a:gd name="T78" fmla="*/ 824 w 1333"/>
              <a:gd name="T79" fmla="*/ 666 h 3700"/>
              <a:gd name="T80" fmla="*/ 776 w 1333"/>
              <a:gd name="T81" fmla="*/ 628 h 3700"/>
              <a:gd name="T82" fmla="*/ 727 w 1333"/>
              <a:gd name="T83" fmla="*/ 588 h 3700"/>
              <a:gd name="T84" fmla="*/ 676 w 1333"/>
              <a:gd name="T85" fmla="*/ 546 h 3700"/>
              <a:gd name="T86" fmla="*/ 622 w 1333"/>
              <a:gd name="T87" fmla="*/ 502 h 3700"/>
              <a:gd name="T88" fmla="*/ 569 w 1333"/>
              <a:gd name="T89" fmla="*/ 456 h 3700"/>
              <a:gd name="T90" fmla="*/ 514 w 1333"/>
              <a:gd name="T91" fmla="*/ 407 h 3700"/>
              <a:gd name="T92" fmla="*/ 459 w 1333"/>
              <a:gd name="T93" fmla="*/ 356 h 3700"/>
              <a:gd name="T94" fmla="*/ 403 w 1333"/>
              <a:gd name="T95" fmla="*/ 303 h 3700"/>
              <a:gd name="T96" fmla="*/ 346 w 1333"/>
              <a:gd name="T97" fmla="*/ 247 h 3700"/>
              <a:gd name="T98" fmla="*/ 288 w 1333"/>
              <a:gd name="T99" fmla="*/ 189 h 3700"/>
              <a:gd name="T100" fmla="*/ 229 w 1333"/>
              <a:gd name="T101" fmla="*/ 128 h 3700"/>
              <a:gd name="T102" fmla="*/ 171 w 1333"/>
              <a:gd name="T103" fmla="*/ 65 h 3700"/>
              <a:gd name="T104" fmla="*/ 112 w 1333"/>
              <a:gd name="T105" fmla="*/ 0 h 3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33" h="3700">
                <a:moveTo>
                  <a:pt x="112" y="0"/>
                </a:moveTo>
                <a:lnTo>
                  <a:pt x="0" y="3529"/>
                </a:lnTo>
                <a:lnTo>
                  <a:pt x="2" y="3539"/>
                </a:lnTo>
                <a:lnTo>
                  <a:pt x="11" y="3565"/>
                </a:lnTo>
                <a:lnTo>
                  <a:pt x="20" y="3582"/>
                </a:lnTo>
                <a:lnTo>
                  <a:pt x="31" y="3600"/>
                </a:lnTo>
                <a:lnTo>
                  <a:pt x="37" y="3610"/>
                </a:lnTo>
                <a:lnTo>
                  <a:pt x="45" y="3619"/>
                </a:lnTo>
                <a:lnTo>
                  <a:pt x="53" y="3629"/>
                </a:lnTo>
                <a:lnTo>
                  <a:pt x="62" y="3638"/>
                </a:lnTo>
                <a:lnTo>
                  <a:pt x="72" y="3647"/>
                </a:lnTo>
                <a:lnTo>
                  <a:pt x="83" y="3656"/>
                </a:lnTo>
                <a:lnTo>
                  <a:pt x="96" y="3664"/>
                </a:lnTo>
                <a:lnTo>
                  <a:pt x="110" y="3671"/>
                </a:lnTo>
                <a:lnTo>
                  <a:pt x="124" y="3678"/>
                </a:lnTo>
                <a:lnTo>
                  <a:pt x="140" y="3685"/>
                </a:lnTo>
                <a:lnTo>
                  <a:pt x="157" y="3690"/>
                </a:lnTo>
                <a:lnTo>
                  <a:pt x="175" y="3694"/>
                </a:lnTo>
                <a:lnTo>
                  <a:pt x="194" y="3697"/>
                </a:lnTo>
                <a:lnTo>
                  <a:pt x="215" y="3700"/>
                </a:lnTo>
                <a:lnTo>
                  <a:pt x="237" y="3700"/>
                </a:lnTo>
                <a:lnTo>
                  <a:pt x="261" y="3700"/>
                </a:lnTo>
                <a:lnTo>
                  <a:pt x="286" y="3698"/>
                </a:lnTo>
                <a:lnTo>
                  <a:pt x="312" y="3694"/>
                </a:lnTo>
                <a:lnTo>
                  <a:pt x="340" y="3689"/>
                </a:lnTo>
                <a:lnTo>
                  <a:pt x="370" y="3681"/>
                </a:lnTo>
                <a:lnTo>
                  <a:pt x="1333" y="997"/>
                </a:lnTo>
                <a:lnTo>
                  <a:pt x="1326" y="994"/>
                </a:lnTo>
                <a:lnTo>
                  <a:pt x="1306" y="984"/>
                </a:lnTo>
                <a:lnTo>
                  <a:pt x="1274" y="966"/>
                </a:lnTo>
                <a:lnTo>
                  <a:pt x="1231" y="941"/>
                </a:lnTo>
                <a:lnTo>
                  <a:pt x="1177" y="909"/>
                </a:lnTo>
                <a:lnTo>
                  <a:pt x="1113" y="869"/>
                </a:lnTo>
                <a:lnTo>
                  <a:pt x="1077" y="846"/>
                </a:lnTo>
                <a:lnTo>
                  <a:pt x="1040" y="821"/>
                </a:lnTo>
                <a:lnTo>
                  <a:pt x="1001" y="794"/>
                </a:lnTo>
                <a:lnTo>
                  <a:pt x="959" y="765"/>
                </a:lnTo>
                <a:lnTo>
                  <a:pt x="916" y="734"/>
                </a:lnTo>
                <a:lnTo>
                  <a:pt x="871" y="701"/>
                </a:lnTo>
                <a:lnTo>
                  <a:pt x="824" y="666"/>
                </a:lnTo>
                <a:lnTo>
                  <a:pt x="776" y="628"/>
                </a:lnTo>
                <a:lnTo>
                  <a:pt x="727" y="588"/>
                </a:lnTo>
                <a:lnTo>
                  <a:pt x="676" y="546"/>
                </a:lnTo>
                <a:lnTo>
                  <a:pt x="622" y="502"/>
                </a:lnTo>
                <a:lnTo>
                  <a:pt x="569" y="456"/>
                </a:lnTo>
                <a:lnTo>
                  <a:pt x="514" y="407"/>
                </a:lnTo>
                <a:lnTo>
                  <a:pt x="459" y="356"/>
                </a:lnTo>
                <a:lnTo>
                  <a:pt x="403" y="303"/>
                </a:lnTo>
                <a:lnTo>
                  <a:pt x="346" y="247"/>
                </a:lnTo>
                <a:lnTo>
                  <a:pt x="288" y="189"/>
                </a:lnTo>
                <a:lnTo>
                  <a:pt x="229" y="128"/>
                </a:lnTo>
                <a:lnTo>
                  <a:pt x="171" y="65"/>
                </a:lnTo>
                <a:lnTo>
                  <a:pt x="11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4988762" y="3630684"/>
            <a:ext cx="331618" cy="921657"/>
          </a:xfrm>
          <a:custGeom>
            <a:avLst/>
            <a:gdLst>
              <a:gd name="T0" fmla="*/ 1221 w 1333"/>
              <a:gd name="T1" fmla="*/ 0 h 3700"/>
              <a:gd name="T2" fmla="*/ 1333 w 1333"/>
              <a:gd name="T3" fmla="*/ 3529 h 3700"/>
              <a:gd name="T4" fmla="*/ 1331 w 1333"/>
              <a:gd name="T5" fmla="*/ 3539 h 3700"/>
              <a:gd name="T6" fmla="*/ 1321 w 1333"/>
              <a:gd name="T7" fmla="*/ 3565 h 3700"/>
              <a:gd name="T8" fmla="*/ 1313 w 1333"/>
              <a:gd name="T9" fmla="*/ 3582 h 3700"/>
              <a:gd name="T10" fmla="*/ 1302 w 1333"/>
              <a:gd name="T11" fmla="*/ 3600 h 3700"/>
              <a:gd name="T12" fmla="*/ 1296 w 1333"/>
              <a:gd name="T13" fmla="*/ 3610 h 3700"/>
              <a:gd name="T14" fmla="*/ 1288 w 1333"/>
              <a:gd name="T15" fmla="*/ 3619 h 3700"/>
              <a:gd name="T16" fmla="*/ 1280 w 1333"/>
              <a:gd name="T17" fmla="*/ 3629 h 3700"/>
              <a:gd name="T18" fmla="*/ 1271 w 1333"/>
              <a:gd name="T19" fmla="*/ 3638 h 3700"/>
              <a:gd name="T20" fmla="*/ 1261 w 1333"/>
              <a:gd name="T21" fmla="*/ 3647 h 3700"/>
              <a:gd name="T22" fmla="*/ 1250 w 1333"/>
              <a:gd name="T23" fmla="*/ 3656 h 3700"/>
              <a:gd name="T24" fmla="*/ 1237 w 1333"/>
              <a:gd name="T25" fmla="*/ 3664 h 3700"/>
              <a:gd name="T26" fmla="*/ 1223 w 1333"/>
              <a:gd name="T27" fmla="*/ 3671 h 3700"/>
              <a:gd name="T28" fmla="*/ 1209 w 1333"/>
              <a:gd name="T29" fmla="*/ 3678 h 3700"/>
              <a:gd name="T30" fmla="*/ 1193 w 1333"/>
              <a:gd name="T31" fmla="*/ 3685 h 3700"/>
              <a:gd name="T32" fmla="*/ 1176 w 1333"/>
              <a:gd name="T33" fmla="*/ 3690 h 3700"/>
              <a:gd name="T34" fmla="*/ 1158 w 1333"/>
              <a:gd name="T35" fmla="*/ 3694 h 3700"/>
              <a:gd name="T36" fmla="*/ 1139 w 1333"/>
              <a:gd name="T37" fmla="*/ 3697 h 3700"/>
              <a:gd name="T38" fmla="*/ 1118 w 1333"/>
              <a:gd name="T39" fmla="*/ 3700 h 3700"/>
              <a:gd name="T40" fmla="*/ 1096 w 1333"/>
              <a:gd name="T41" fmla="*/ 3700 h 3700"/>
              <a:gd name="T42" fmla="*/ 1072 w 1333"/>
              <a:gd name="T43" fmla="*/ 3700 h 3700"/>
              <a:gd name="T44" fmla="*/ 1047 w 1333"/>
              <a:gd name="T45" fmla="*/ 3698 h 3700"/>
              <a:gd name="T46" fmla="*/ 1021 w 1333"/>
              <a:gd name="T47" fmla="*/ 3694 h 3700"/>
              <a:gd name="T48" fmla="*/ 993 w 1333"/>
              <a:gd name="T49" fmla="*/ 3689 h 3700"/>
              <a:gd name="T50" fmla="*/ 963 w 1333"/>
              <a:gd name="T51" fmla="*/ 3681 h 3700"/>
              <a:gd name="T52" fmla="*/ 0 w 1333"/>
              <a:gd name="T53" fmla="*/ 997 h 3700"/>
              <a:gd name="T54" fmla="*/ 7 w 1333"/>
              <a:gd name="T55" fmla="*/ 994 h 3700"/>
              <a:gd name="T56" fmla="*/ 27 w 1333"/>
              <a:gd name="T57" fmla="*/ 984 h 3700"/>
              <a:gd name="T58" fmla="*/ 59 w 1333"/>
              <a:gd name="T59" fmla="*/ 966 h 3700"/>
              <a:gd name="T60" fmla="*/ 102 w 1333"/>
              <a:gd name="T61" fmla="*/ 941 h 3700"/>
              <a:gd name="T62" fmla="*/ 156 w 1333"/>
              <a:gd name="T63" fmla="*/ 909 h 3700"/>
              <a:gd name="T64" fmla="*/ 220 w 1333"/>
              <a:gd name="T65" fmla="*/ 869 h 3700"/>
              <a:gd name="T66" fmla="*/ 256 w 1333"/>
              <a:gd name="T67" fmla="*/ 846 h 3700"/>
              <a:gd name="T68" fmla="*/ 293 w 1333"/>
              <a:gd name="T69" fmla="*/ 821 h 3700"/>
              <a:gd name="T70" fmla="*/ 332 w 1333"/>
              <a:gd name="T71" fmla="*/ 794 h 3700"/>
              <a:gd name="T72" fmla="*/ 374 w 1333"/>
              <a:gd name="T73" fmla="*/ 765 h 3700"/>
              <a:gd name="T74" fmla="*/ 417 w 1333"/>
              <a:gd name="T75" fmla="*/ 734 h 3700"/>
              <a:gd name="T76" fmla="*/ 462 w 1333"/>
              <a:gd name="T77" fmla="*/ 701 h 3700"/>
              <a:gd name="T78" fmla="*/ 509 w 1333"/>
              <a:gd name="T79" fmla="*/ 666 h 3700"/>
              <a:gd name="T80" fmla="*/ 557 w 1333"/>
              <a:gd name="T81" fmla="*/ 628 h 3700"/>
              <a:gd name="T82" fmla="*/ 606 w 1333"/>
              <a:gd name="T83" fmla="*/ 588 h 3700"/>
              <a:gd name="T84" fmla="*/ 657 w 1333"/>
              <a:gd name="T85" fmla="*/ 546 h 3700"/>
              <a:gd name="T86" fmla="*/ 711 w 1333"/>
              <a:gd name="T87" fmla="*/ 502 h 3700"/>
              <a:gd name="T88" fmla="*/ 764 w 1333"/>
              <a:gd name="T89" fmla="*/ 456 h 3700"/>
              <a:gd name="T90" fmla="*/ 819 w 1333"/>
              <a:gd name="T91" fmla="*/ 407 h 3700"/>
              <a:gd name="T92" fmla="*/ 874 w 1333"/>
              <a:gd name="T93" fmla="*/ 356 h 3700"/>
              <a:gd name="T94" fmla="*/ 930 w 1333"/>
              <a:gd name="T95" fmla="*/ 303 h 3700"/>
              <a:gd name="T96" fmla="*/ 987 w 1333"/>
              <a:gd name="T97" fmla="*/ 247 h 3700"/>
              <a:gd name="T98" fmla="*/ 1045 w 1333"/>
              <a:gd name="T99" fmla="*/ 189 h 3700"/>
              <a:gd name="T100" fmla="*/ 1104 w 1333"/>
              <a:gd name="T101" fmla="*/ 128 h 3700"/>
              <a:gd name="T102" fmla="*/ 1162 w 1333"/>
              <a:gd name="T103" fmla="*/ 65 h 3700"/>
              <a:gd name="T104" fmla="*/ 1221 w 1333"/>
              <a:gd name="T105" fmla="*/ 0 h 3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33" h="3700">
                <a:moveTo>
                  <a:pt x="1221" y="0"/>
                </a:moveTo>
                <a:lnTo>
                  <a:pt x="1333" y="3529"/>
                </a:lnTo>
                <a:lnTo>
                  <a:pt x="1331" y="3539"/>
                </a:lnTo>
                <a:lnTo>
                  <a:pt x="1321" y="3565"/>
                </a:lnTo>
                <a:lnTo>
                  <a:pt x="1313" y="3582"/>
                </a:lnTo>
                <a:lnTo>
                  <a:pt x="1302" y="3600"/>
                </a:lnTo>
                <a:lnTo>
                  <a:pt x="1296" y="3610"/>
                </a:lnTo>
                <a:lnTo>
                  <a:pt x="1288" y="3619"/>
                </a:lnTo>
                <a:lnTo>
                  <a:pt x="1280" y="3629"/>
                </a:lnTo>
                <a:lnTo>
                  <a:pt x="1271" y="3638"/>
                </a:lnTo>
                <a:lnTo>
                  <a:pt x="1261" y="3647"/>
                </a:lnTo>
                <a:lnTo>
                  <a:pt x="1250" y="3656"/>
                </a:lnTo>
                <a:lnTo>
                  <a:pt x="1237" y="3664"/>
                </a:lnTo>
                <a:lnTo>
                  <a:pt x="1223" y="3671"/>
                </a:lnTo>
                <a:lnTo>
                  <a:pt x="1209" y="3678"/>
                </a:lnTo>
                <a:lnTo>
                  <a:pt x="1193" y="3685"/>
                </a:lnTo>
                <a:lnTo>
                  <a:pt x="1176" y="3690"/>
                </a:lnTo>
                <a:lnTo>
                  <a:pt x="1158" y="3694"/>
                </a:lnTo>
                <a:lnTo>
                  <a:pt x="1139" y="3697"/>
                </a:lnTo>
                <a:lnTo>
                  <a:pt x="1118" y="3700"/>
                </a:lnTo>
                <a:lnTo>
                  <a:pt x="1096" y="3700"/>
                </a:lnTo>
                <a:lnTo>
                  <a:pt x="1072" y="3700"/>
                </a:lnTo>
                <a:lnTo>
                  <a:pt x="1047" y="3698"/>
                </a:lnTo>
                <a:lnTo>
                  <a:pt x="1021" y="3694"/>
                </a:lnTo>
                <a:lnTo>
                  <a:pt x="993" y="3689"/>
                </a:lnTo>
                <a:lnTo>
                  <a:pt x="963" y="3681"/>
                </a:lnTo>
                <a:lnTo>
                  <a:pt x="0" y="997"/>
                </a:lnTo>
                <a:lnTo>
                  <a:pt x="7" y="994"/>
                </a:lnTo>
                <a:lnTo>
                  <a:pt x="27" y="984"/>
                </a:lnTo>
                <a:lnTo>
                  <a:pt x="59" y="966"/>
                </a:lnTo>
                <a:lnTo>
                  <a:pt x="102" y="941"/>
                </a:lnTo>
                <a:lnTo>
                  <a:pt x="156" y="909"/>
                </a:lnTo>
                <a:lnTo>
                  <a:pt x="220" y="869"/>
                </a:lnTo>
                <a:lnTo>
                  <a:pt x="256" y="846"/>
                </a:lnTo>
                <a:lnTo>
                  <a:pt x="293" y="821"/>
                </a:lnTo>
                <a:lnTo>
                  <a:pt x="332" y="794"/>
                </a:lnTo>
                <a:lnTo>
                  <a:pt x="374" y="765"/>
                </a:lnTo>
                <a:lnTo>
                  <a:pt x="417" y="734"/>
                </a:lnTo>
                <a:lnTo>
                  <a:pt x="462" y="701"/>
                </a:lnTo>
                <a:lnTo>
                  <a:pt x="509" y="666"/>
                </a:lnTo>
                <a:lnTo>
                  <a:pt x="557" y="628"/>
                </a:lnTo>
                <a:lnTo>
                  <a:pt x="606" y="588"/>
                </a:lnTo>
                <a:lnTo>
                  <a:pt x="657" y="546"/>
                </a:lnTo>
                <a:lnTo>
                  <a:pt x="711" y="502"/>
                </a:lnTo>
                <a:lnTo>
                  <a:pt x="764" y="456"/>
                </a:lnTo>
                <a:lnTo>
                  <a:pt x="819" y="407"/>
                </a:lnTo>
                <a:lnTo>
                  <a:pt x="874" y="356"/>
                </a:lnTo>
                <a:lnTo>
                  <a:pt x="930" y="303"/>
                </a:lnTo>
                <a:lnTo>
                  <a:pt x="987" y="247"/>
                </a:lnTo>
                <a:lnTo>
                  <a:pt x="1045" y="189"/>
                </a:lnTo>
                <a:lnTo>
                  <a:pt x="1104" y="128"/>
                </a:lnTo>
                <a:lnTo>
                  <a:pt x="1162" y="65"/>
                </a:lnTo>
                <a:lnTo>
                  <a:pt x="122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4" name="Freeform 12"/>
          <p:cNvSpPr>
            <a:spLocks/>
          </p:cNvSpPr>
          <p:nvPr/>
        </p:nvSpPr>
        <p:spPr bwMode="auto">
          <a:xfrm>
            <a:off x="4286690" y="2774006"/>
            <a:ext cx="570621" cy="569874"/>
          </a:xfrm>
          <a:custGeom>
            <a:avLst/>
            <a:gdLst>
              <a:gd name="T0" fmla="*/ 2286 w 2292"/>
              <a:gd name="T1" fmla="*/ 1262 h 2289"/>
              <a:gd name="T2" fmla="*/ 2256 w 2292"/>
              <a:gd name="T3" fmla="*/ 1431 h 2289"/>
              <a:gd name="T4" fmla="*/ 2202 w 2292"/>
              <a:gd name="T5" fmla="*/ 1590 h 2289"/>
              <a:gd name="T6" fmla="*/ 2126 w 2292"/>
              <a:gd name="T7" fmla="*/ 1738 h 2289"/>
              <a:gd name="T8" fmla="*/ 2030 w 2292"/>
              <a:gd name="T9" fmla="*/ 1873 h 2289"/>
              <a:gd name="T10" fmla="*/ 1916 w 2292"/>
              <a:gd name="T11" fmla="*/ 1992 h 2289"/>
              <a:gd name="T12" fmla="*/ 1786 w 2292"/>
              <a:gd name="T13" fmla="*/ 2093 h 2289"/>
              <a:gd name="T14" fmla="*/ 1643 w 2292"/>
              <a:gd name="T15" fmla="*/ 2176 h 2289"/>
              <a:gd name="T16" fmla="*/ 1487 w 2292"/>
              <a:gd name="T17" fmla="*/ 2237 h 2289"/>
              <a:gd name="T18" fmla="*/ 1320 w 2292"/>
              <a:gd name="T19" fmla="*/ 2276 h 2289"/>
              <a:gd name="T20" fmla="*/ 1146 w 2292"/>
              <a:gd name="T21" fmla="*/ 2289 h 2289"/>
              <a:gd name="T22" fmla="*/ 972 w 2292"/>
              <a:gd name="T23" fmla="*/ 2276 h 2289"/>
              <a:gd name="T24" fmla="*/ 805 w 2292"/>
              <a:gd name="T25" fmla="*/ 2237 h 2289"/>
              <a:gd name="T26" fmla="*/ 649 w 2292"/>
              <a:gd name="T27" fmla="*/ 2176 h 2289"/>
              <a:gd name="T28" fmla="*/ 506 w 2292"/>
              <a:gd name="T29" fmla="*/ 2093 h 2289"/>
              <a:gd name="T30" fmla="*/ 376 w 2292"/>
              <a:gd name="T31" fmla="*/ 1992 h 2289"/>
              <a:gd name="T32" fmla="*/ 261 w 2292"/>
              <a:gd name="T33" fmla="*/ 1873 h 2289"/>
              <a:gd name="T34" fmla="*/ 166 w 2292"/>
              <a:gd name="T35" fmla="*/ 1738 h 2289"/>
              <a:gd name="T36" fmla="*/ 90 w 2292"/>
              <a:gd name="T37" fmla="*/ 1590 h 2289"/>
              <a:gd name="T38" fmla="*/ 36 w 2292"/>
              <a:gd name="T39" fmla="*/ 1431 h 2289"/>
              <a:gd name="T40" fmla="*/ 6 w 2292"/>
              <a:gd name="T41" fmla="*/ 1262 h 2289"/>
              <a:gd name="T42" fmla="*/ 2 w 2292"/>
              <a:gd name="T43" fmla="*/ 1086 h 2289"/>
              <a:gd name="T44" fmla="*/ 24 w 2292"/>
              <a:gd name="T45" fmla="*/ 915 h 2289"/>
              <a:gd name="T46" fmla="*/ 70 w 2292"/>
              <a:gd name="T47" fmla="*/ 752 h 2289"/>
              <a:gd name="T48" fmla="*/ 138 w 2292"/>
              <a:gd name="T49" fmla="*/ 600 h 2289"/>
              <a:gd name="T50" fmla="*/ 228 w 2292"/>
              <a:gd name="T51" fmla="*/ 461 h 2289"/>
              <a:gd name="T52" fmla="*/ 335 w 2292"/>
              <a:gd name="T53" fmla="*/ 335 h 2289"/>
              <a:gd name="T54" fmla="*/ 461 w 2292"/>
              <a:gd name="T55" fmla="*/ 228 h 2289"/>
              <a:gd name="T56" fmla="*/ 600 w 2292"/>
              <a:gd name="T57" fmla="*/ 139 h 2289"/>
              <a:gd name="T58" fmla="*/ 752 w 2292"/>
              <a:gd name="T59" fmla="*/ 70 h 2289"/>
              <a:gd name="T60" fmla="*/ 915 w 2292"/>
              <a:gd name="T61" fmla="*/ 24 h 2289"/>
              <a:gd name="T62" fmla="*/ 1087 w 2292"/>
              <a:gd name="T63" fmla="*/ 2 h 2289"/>
              <a:gd name="T64" fmla="*/ 1263 w 2292"/>
              <a:gd name="T65" fmla="*/ 6 h 2289"/>
              <a:gd name="T66" fmla="*/ 1433 w 2292"/>
              <a:gd name="T67" fmla="*/ 36 h 2289"/>
              <a:gd name="T68" fmla="*/ 1592 w 2292"/>
              <a:gd name="T69" fmla="*/ 90 h 2289"/>
              <a:gd name="T70" fmla="*/ 1740 w 2292"/>
              <a:gd name="T71" fmla="*/ 166 h 2289"/>
              <a:gd name="T72" fmla="*/ 1874 w 2292"/>
              <a:gd name="T73" fmla="*/ 262 h 2289"/>
              <a:gd name="T74" fmla="*/ 1994 w 2292"/>
              <a:gd name="T75" fmla="*/ 375 h 2289"/>
              <a:gd name="T76" fmla="*/ 2096 w 2292"/>
              <a:gd name="T77" fmla="*/ 506 h 2289"/>
              <a:gd name="T78" fmla="*/ 2179 w 2292"/>
              <a:gd name="T79" fmla="*/ 649 h 2289"/>
              <a:gd name="T80" fmla="*/ 2240 w 2292"/>
              <a:gd name="T81" fmla="*/ 805 h 2289"/>
              <a:gd name="T82" fmla="*/ 2278 w 2292"/>
              <a:gd name="T83" fmla="*/ 971 h 2289"/>
              <a:gd name="T84" fmla="*/ 2292 w 2292"/>
              <a:gd name="T85" fmla="*/ 1145 h 2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292" h="2289">
                <a:moveTo>
                  <a:pt x="2292" y="1145"/>
                </a:moveTo>
                <a:lnTo>
                  <a:pt x="2290" y="1204"/>
                </a:lnTo>
                <a:lnTo>
                  <a:pt x="2286" y="1262"/>
                </a:lnTo>
                <a:lnTo>
                  <a:pt x="2278" y="1319"/>
                </a:lnTo>
                <a:lnTo>
                  <a:pt x="2268" y="1376"/>
                </a:lnTo>
                <a:lnTo>
                  <a:pt x="2256" y="1431"/>
                </a:lnTo>
                <a:lnTo>
                  <a:pt x="2240" y="1485"/>
                </a:lnTo>
                <a:lnTo>
                  <a:pt x="2222" y="1538"/>
                </a:lnTo>
                <a:lnTo>
                  <a:pt x="2202" y="1590"/>
                </a:lnTo>
                <a:lnTo>
                  <a:pt x="2179" y="1641"/>
                </a:lnTo>
                <a:lnTo>
                  <a:pt x="2154" y="1690"/>
                </a:lnTo>
                <a:lnTo>
                  <a:pt x="2126" y="1738"/>
                </a:lnTo>
                <a:lnTo>
                  <a:pt x="2096" y="1785"/>
                </a:lnTo>
                <a:lnTo>
                  <a:pt x="2064" y="1829"/>
                </a:lnTo>
                <a:lnTo>
                  <a:pt x="2030" y="1873"/>
                </a:lnTo>
                <a:lnTo>
                  <a:pt x="1994" y="1914"/>
                </a:lnTo>
                <a:lnTo>
                  <a:pt x="1957" y="1954"/>
                </a:lnTo>
                <a:lnTo>
                  <a:pt x="1916" y="1992"/>
                </a:lnTo>
                <a:lnTo>
                  <a:pt x="1874" y="2028"/>
                </a:lnTo>
                <a:lnTo>
                  <a:pt x="1831" y="2062"/>
                </a:lnTo>
                <a:lnTo>
                  <a:pt x="1786" y="2093"/>
                </a:lnTo>
                <a:lnTo>
                  <a:pt x="1740" y="2123"/>
                </a:lnTo>
                <a:lnTo>
                  <a:pt x="1692" y="2151"/>
                </a:lnTo>
                <a:lnTo>
                  <a:pt x="1643" y="2176"/>
                </a:lnTo>
                <a:lnTo>
                  <a:pt x="1592" y="2199"/>
                </a:lnTo>
                <a:lnTo>
                  <a:pt x="1540" y="2219"/>
                </a:lnTo>
                <a:lnTo>
                  <a:pt x="1487" y="2237"/>
                </a:lnTo>
                <a:lnTo>
                  <a:pt x="1433" y="2253"/>
                </a:lnTo>
                <a:lnTo>
                  <a:pt x="1376" y="2266"/>
                </a:lnTo>
                <a:lnTo>
                  <a:pt x="1320" y="2276"/>
                </a:lnTo>
                <a:lnTo>
                  <a:pt x="1263" y="2283"/>
                </a:lnTo>
                <a:lnTo>
                  <a:pt x="1205" y="2287"/>
                </a:lnTo>
                <a:lnTo>
                  <a:pt x="1146" y="2289"/>
                </a:lnTo>
                <a:lnTo>
                  <a:pt x="1087" y="2287"/>
                </a:lnTo>
                <a:lnTo>
                  <a:pt x="1029" y="2283"/>
                </a:lnTo>
                <a:lnTo>
                  <a:pt x="972" y="2276"/>
                </a:lnTo>
                <a:lnTo>
                  <a:pt x="915" y="2266"/>
                </a:lnTo>
                <a:lnTo>
                  <a:pt x="859" y="2253"/>
                </a:lnTo>
                <a:lnTo>
                  <a:pt x="805" y="2237"/>
                </a:lnTo>
                <a:lnTo>
                  <a:pt x="752" y="2219"/>
                </a:lnTo>
                <a:lnTo>
                  <a:pt x="700" y="2199"/>
                </a:lnTo>
                <a:lnTo>
                  <a:pt x="649" y="2176"/>
                </a:lnTo>
                <a:lnTo>
                  <a:pt x="600" y="2151"/>
                </a:lnTo>
                <a:lnTo>
                  <a:pt x="552" y="2123"/>
                </a:lnTo>
                <a:lnTo>
                  <a:pt x="506" y="2093"/>
                </a:lnTo>
                <a:lnTo>
                  <a:pt x="461" y="2062"/>
                </a:lnTo>
                <a:lnTo>
                  <a:pt x="418" y="2028"/>
                </a:lnTo>
                <a:lnTo>
                  <a:pt x="376" y="1992"/>
                </a:lnTo>
                <a:lnTo>
                  <a:pt x="335" y="1954"/>
                </a:lnTo>
                <a:lnTo>
                  <a:pt x="297" y="1914"/>
                </a:lnTo>
                <a:lnTo>
                  <a:pt x="261" y="1873"/>
                </a:lnTo>
                <a:lnTo>
                  <a:pt x="228" y="1829"/>
                </a:lnTo>
                <a:lnTo>
                  <a:pt x="196" y="1785"/>
                </a:lnTo>
                <a:lnTo>
                  <a:pt x="166" y="1738"/>
                </a:lnTo>
                <a:lnTo>
                  <a:pt x="138" y="1690"/>
                </a:lnTo>
                <a:lnTo>
                  <a:pt x="113" y="1641"/>
                </a:lnTo>
                <a:lnTo>
                  <a:pt x="90" y="1590"/>
                </a:lnTo>
                <a:lnTo>
                  <a:pt x="70" y="1538"/>
                </a:lnTo>
                <a:lnTo>
                  <a:pt x="52" y="1485"/>
                </a:lnTo>
                <a:lnTo>
                  <a:pt x="36" y="1431"/>
                </a:lnTo>
                <a:lnTo>
                  <a:pt x="24" y="1376"/>
                </a:lnTo>
                <a:lnTo>
                  <a:pt x="14" y="1319"/>
                </a:lnTo>
                <a:lnTo>
                  <a:pt x="6" y="1262"/>
                </a:lnTo>
                <a:lnTo>
                  <a:pt x="2" y="1204"/>
                </a:lnTo>
                <a:lnTo>
                  <a:pt x="0" y="1145"/>
                </a:lnTo>
                <a:lnTo>
                  <a:pt x="2" y="1086"/>
                </a:lnTo>
                <a:lnTo>
                  <a:pt x="6" y="1028"/>
                </a:lnTo>
                <a:lnTo>
                  <a:pt x="14" y="971"/>
                </a:lnTo>
                <a:lnTo>
                  <a:pt x="24" y="915"/>
                </a:lnTo>
                <a:lnTo>
                  <a:pt x="36" y="859"/>
                </a:lnTo>
                <a:lnTo>
                  <a:pt x="52" y="805"/>
                </a:lnTo>
                <a:lnTo>
                  <a:pt x="70" y="752"/>
                </a:lnTo>
                <a:lnTo>
                  <a:pt x="90" y="700"/>
                </a:lnTo>
                <a:lnTo>
                  <a:pt x="113" y="649"/>
                </a:lnTo>
                <a:lnTo>
                  <a:pt x="138" y="600"/>
                </a:lnTo>
                <a:lnTo>
                  <a:pt x="166" y="552"/>
                </a:lnTo>
                <a:lnTo>
                  <a:pt x="196" y="506"/>
                </a:lnTo>
                <a:lnTo>
                  <a:pt x="228" y="461"/>
                </a:lnTo>
                <a:lnTo>
                  <a:pt x="261" y="417"/>
                </a:lnTo>
                <a:lnTo>
                  <a:pt x="297" y="375"/>
                </a:lnTo>
                <a:lnTo>
                  <a:pt x="335" y="335"/>
                </a:lnTo>
                <a:lnTo>
                  <a:pt x="376" y="298"/>
                </a:lnTo>
                <a:lnTo>
                  <a:pt x="418" y="262"/>
                </a:lnTo>
                <a:lnTo>
                  <a:pt x="461" y="228"/>
                </a:lnTo>
                <a:lnTo>
                  <a:pt x="506" y="196"/>
                </a:lnTo>
                <a:lnTo>
                  <a:pt x="552" y="166"/>
                </a:lnTo>
                <a:lnTo>
                  <a:pt x="600" y="139"/>
                </a:lnTo>
                <a:lnTo>
                  <a:pt x="649" y="113"/>
                </a:lnTo>
                <a:lnTo>
                  <a:pt x="700" y="90"/>
                </a:lnTo>
                <a:lnTo>
                  <a:pt x="752" y="70"/>
                </a:lnTo>
                <a:lnTo>
                  <a:pt x="805" y="52"/>
                </a:lnTo>
                <a:lnTo>
                  <a:pt x="859" y="36"/>
                </a:lnTo>
                <a:lnTo>
                  <a:pt x="915" y="24"/>
                </a:lnTo>
                <a:lnTo>
                  <a:pt x="972" y="14"/>
                </a:lnTo>
                <a:lnTo>
                  <a:pt x="1029" y="6"/>
                </a:lnTo>
                <a:lnTo>
                  <a:pt x="1087" y="2"/>
                </a:lnTo>
                <a:lnTo>
                  <a:pt x="1146" y="0"/>
                </a:lnTo>
                <a:lnTo>
                  <a:pt x="1205" y="2"/>
                </a:lnTo>
                <a:lnTo>
                  <a:pt x="1263" y="6"/>
                </a:lnTo>
                <a:lnTo>
                  <a:pt x="1320" y="14"/>
                </a:lnTo>
                <a:lnTo>
                  <a:pt x="1376" y="24"/>
                </a:lnTo>
                <a:lnTo>
                  <a:pt x="1433" y="36"/>
                </a:lnTo>
                <a:lnTo>
                  <a:pt x="1487" y="52"/>
                </a:lnTo>
                <a:lnTo>
                  <a:pt x="1540" y="70"/>
                </a:lnTo>
                <a:lnTo>
                  <a:pt x="1592" y="90"/>
                </a:lnTo>
                <a:lnTo>
                  <a:pt x="1643" y="113"/>
                </a:lnTo>
                <a:lnTo>
                  <a:pt x="1692" y="139"/>
                </a:lnTo>
                <a:lnTo>
                  <a:pt x="1740" y="166"/>
                </a:lnTo>
                <a:lnTo>
                  <a:pt x="1786" y="196"/>
                </a:lnTo>
                <a:lnTo>
                  <a:pt x="1831" y="228"/>
                </a:lnTo>
                <a:lnTo>
                  <a:pt x="1874" y="262"/>
                </a:lnTo>
                <a:lnTo>
                  <a:pt x="1916" y="298"/>
                </a:lnTo>
                <a:lnTo>
                  <a:pt x="1957" y="335"/>
                </a:lnTo>
                <a:lnTo>
                  <a:pt x="1994" y="375"/>
                </a:lnTo>
                <a:lnTo>
                  <a:pt x="2030" y="417"/>
                </a:lnTo>
                <a:lnTo>
                  <a:pt x="2064" y="461"/>
                </a:lnTo>
                <a:lnTo>
                  <a:pt x="2096" y="506"/>
                </a:lnTo>
                <a:lnTo>
                  <a:pt x="2126" y="552"/>
                </a:lnTo>
                <a:lnTo>
                  <a:pt x="2154" y="600"/>
                </a:lnTo>
                <a:lnTo>
                  <a:pt x="2179" y="649"/>
                </a:lnTo>
                <a:lnTo>
                  <a:pt x="2202" y="700"/>
                </a:lnTo>
                <a:lnTo>
                  <a:pt x="2222" y="752"/>
                </a:lnTo>
                <a:lnTo>
                  <a:pt x="2240" y="805"/>
                </a:lnTo>
                <a:lnTo>
                  <a:pt x="2256" y="859"/>
                </a:lnTo>
                <a:lnTo>
                  <a:pt x="2268" y="915"/>
                </a:lnTo>
                <a:lnTo>
                  <a:pt x="2278" y="971"/>
                </a:lnTo>
                <a:lnTo>
                  <a:pt x="2286" y="1028"/>
                </a:lnTo>
                <a:lnTo>
                  <a:pt x="2290" y="1086"/>
                </a:lnTo>
                <a:lnTo>
                  <a:pt x="2292" y="114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2982811" y="2354668"/>
            <a:ext cx="111156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вал 19"/>
          <p:cNvSpPr/>
          <p:nvPr/>
        </p:nvSpPr>
        <p:spPr>
          <a:xfrm>
            <a:off x="2758977" y="2164824"/>
            <a:ext cx="379689" cy="37968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1" name="Freeform 33"/>
          <p:cNvSpPr>
            <a:spLocks/>
          </p:cNvSpPr>
          <p:nvPr/>
        </p:nvSpPr>
        <p:spPr bwMode="auto">
          <a:xfrm>
            <a:off x="2860014" y="2270196"/>
            <a:ext cx="182249" cy="181314"/>
          </a:xfrm>
          <a:custGeom>
            <a:avLst/>
            <a:gdLst>
              <a:gd name="T0" fmla="*/ 558 w 584"/>
              <a:gd name="T1" fmla="*/ 23 h 584"/>
              <a:gd name="T2" fmla="*/ 545 w 584"/>
              <a:gd name="T3" fmla="*/ 29 h 584"/>
              <a:gd name="T4" fmla="*/ 472 w 584"/>
              <a:gd name="T5" fmla="*/ 62 h 584"/>
              <a:gd name="T6" fmla="*/ 425 w 584"/>
              <a:gd name="T7" fmla="*/ 33 h 584"/>
              <a:gd name="T8" fmla="*/ 373 w 584"/>
              <a:gd name="T9" fmla="*/ 12 h 584"/>
              <a:gd name="T10" fmla="*/ 319 w 584"/>
              <a:gd name="T11" fmla="*/ 1 h 584"/>
              <a:gd name="T12" fmla="*/ 262 w 584"/>
              <a:gd name="T13" fmla="*/ 2 h 584"/>
              <a:gd name="T14" fmla="*/ 206 w 584"/>
              <a:gd name="T15" fmla="*/ 13 h 584"/>
              <a:gd name="T16" fmla="*/ 152 w 584"/>
              <a:gd name="T17" fmla="*/ 35 h 584"/>
              <a:gd name="T18" fmla="*/ 105 w 584"/>
              <a:gd name="T19" fmla="*/ 67 h 584"/>
              <a:gd name="T20" fmla="*/ 67 w 584"/>
              <a:gd name="T21" fmla="*/ 106 h 584"/>
              <a:gd name="T22" fmla="*/ 35 w 584"/>
              <a:gd name="T23" fmla="*/ 153 h 584"/>
              <a:gd name="T24" fmla="*/ 13 w 584"/>
              <a:gd name="T25" fmla="*/ 206 h 584"/>
              <a:gd name="T26" fmla="*/ 1 w 584"/>
              <a:gd name="T27" fmla="*/ 263 h 584"/>
              <a:gd name="T28" fmla="*/ 1 w 584"/>
              <a:gd name="T29" fmla="*/ 322 h 584"/>
              <a:gd name="T30" fmla="*/ 13 w 584"/>
              <a:gd name="T31" fmla="*/ 378 h 584"/>
              <a:gd name="T32" fmla="*/ 35 w 584"/>
              <a:gd name="T33" fmla="*/ 432 h 584"/>
              <a:gd name="T34" fmla="*/ 67 w 584"/>
              <a:gd name="T35" fmla="*/ 478 h 584"/>
              <a:gd name="T36" fmla="*/ 105 w 584"/>
              <a:gd name="T37" fmla="*/ 517 h 584"/>
              <a:gd name="T38" fmla="*/ 152 w 584"/>
              <a:gd name="T39" fmla="*/ 548 h 584"/>
              <a:gd name="T40" fmla="*/ 206 w 584"/>
              <a:gd name="T41" fmla="*/ 571 h 584"/>
              <a:gd name="T42" fmla="*/ 262 w 584"/>
              <a:gd name="T43" fmla="*/ 583 h 584"/>
              <a:gd name="T44" fmla="*/ 324 w 584"/>
              <a:gd name="T45" fmla="*/ 583 h 584"/>
              <a:gd name="T46" fmla="*/ 386 w 584"/>
              <a:gd name="T47" fmla="*/ 569 h 584"/>
              <a:gd name="T48" fmla="*/ 445 w 584"/>
              <a:gd name="T49" fmla="*/ 542 h 584"/>
              <a:gd name="T50" fmla="*/ 494 w 584"/>
              <a:gd name="T51" fmla="*/ 503 h 584"/>
              <a:gd name="T52" fmla="*/ 519 w 584"/>
              <a:gd name="T53" fmla="*/ 471 h 584"/>
              <a:gd name="T54" fmla="*/ 459 w 584"/>
              <a:gd name="T55" fmla="*/ 408 h 584"/>
              <a:gd name="T56" fmla="*/ 438 w 584"/>
              <a:gd name="T57" fmla="*/ 420 h 584"/>
              <a:gd name="T58" fmla="*/ 406 w 584"/>
              <a:gd name="T59" fmla="*/ 450 h 584"/>
              <a:gd name="T60" fmla="*/ 367 w 584"/>
              <a:gd name="T61" fmla="*/ 472 h 584"/>
              <a:gd name="T62" fmla="*/ 325 w 584"/>
              <a:gd name="T63" fmla="*/ 485 h 584"/>
              <a:gd name="T64" fmla="*/ 272 w 584"/>
              <a:gd name="T65" fmla="*/ 486 h 584"/>
              <a:gd name="T66" fmla="*/ 198 w 584"/>
              <a:gd name="T67" fmla="*/ 463 h 584"/>
              <a:gd name="T68" fmla="*/ 141 w 584"/>
              <a:gd name="T69" fmla="*/ 417 h 584"/>
              <a:gd name="T70" fmla="*/ 105 w 584"/>
              <a:gd name="T71" fmla="*/ 350 h 584"/>
              <a:gd name="T72" fmla="*/ 98 w 584"/>
              <a:gd name="T73" fmla="*/ 273 h 584"/>
              <a:gd name="T74" fmla="*/ 121 w 584"/>
              <a:gd name="T75" fmla="*/ 199 h 584"/>
              <a:gd name="T76" fmla="*/ 167 w 584"/>
              <a:gd name="T77" fmla="*/ 142 h 584"/>
              <a:gd name="T78" fmla="*/ 234 w 584"/>
              <a:gd name="T79" fmla="*/ 106 h 584"/>
              <a:gd name="T80" fmla="*/ 311 w 584"/>
              <a:gd name="T81" fmla="*/ 98 h 584"/>
              <a:gd name="T82" fmla="*/ 379 w 584"/>
              <a:gd name="T83" fmla="*/ 117 h 584"/>
              <a:gd name="T84" fmla="*/ 372 w 584"/>
              <a:gd name="T85" fmla="*/ 202 h 584"/>
              <a:gd name="T86" fmla="*/ 365 w 584"/>
              <a:gd name="T87" fmla="*/ 215 h 584"/>
              <a:gd name="T88" fmla="*/ 367 w 584"/>
              <a:gd name="T89" fmla="*/ 229 h 584"/>
              <a:gd name="T90" fmla="*/ 388 w 584"/>
              <a:gd name="T91" fmla="*/ 244 h 584"/>
              <a:gd name="T92" fmla="*/ 573 w 584"/>
              <a:gd name="T93" fmla="*/ 239 h 584"/>
              <a:gd name="T94" fmla="*/ 583 w 584"/>
              <a:gd name="T95" fmla="*/ 224 h 584"/>
              <a:gd name="T96" fmla="*/ 580 w 584"/>
              <a:gd name="T97" fmla="*/ 35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4" h="584">
                <a:moveTo>
                  <a:pt x="569" y="26"/>
                </a:moveTo>
                <a:lnTo>
                  <a:pt x="564" y="25"/>
                </a:lnTo>
                <a:lnTo>
                  <a:pt x="561" y="25"/>
                </a:lnTo>
                <a:lnTo>
                  <a:pt x="558" y="23"/>
                </a:lnTo>
                <a:lnTo>
                  <a:pt x="555" y="25"/>
                </a:lnTo>
                <a:lnTo>
                  <a:pt x="552" y="26"/>
                </a:lnTo>
                <a:lnTo>
                  <a:pt x="548" y="27"/>
                </a:lnTo>
                <a:lnTo>
                  <a:pt x="545" y="29"/>
                </a:lnTo>
                <a:lnTo>
                  <a:pt x="542" y="31"/>
                </a:lnTo>
                <a:lnTo>
                  <a:pt x="493" y="81"/>
                </a:lnTo>
                <a:lnTo>
                  <a:pt x="482" y="71"/>
                </a:lnTo>
                <a:lnTo>
                  <a:pt x="472" y="62"/>
                </a:lnTo>
                <a:lnTo>
                  <a:pt x="461" y="54"/>
                </a:lnTo>
                <a:lnTo>
                  <a:pt x="449" y="46"/>
                </a:lnTo>
                <a:lnTo>
                  <a:pt x="437" y="40"/>
                </a:lnTo>
                <a:lnTo>
                  <a:pt x="425" y="33"/>
                </a:lnTo>
                <a:lnTo>
                  <a:pt x="412" y="27"/>
                </a:lnTo>
                <a:lnTo>
                  <a:pt x="399" y="21"/>
                </a:lnTo>
                <a:lnTo>
                  <a:pt x="386" y="16"/>
                </a:lnTo>
                <a:lnTo>
                  <a:pt x="373" y="12"/>
                </a:lnTo>
                <a:lnTo>
                  <a:pt x="360" y="8"/>
                </a:lnTo>
                <a:lnTo>
                  <a:pt x="346" y="5"/>
                </a:lnTo>
                <a:lnTo>
                  <a:pt x="333" y="3"/>
                </a:lnTo>
                <a:lnTo>
                  <a:pt x="319" y="1"/>
                </a:lnTo>
                <a:lnTo>
                  <a:pt x="305" y="0"/>
                </a:lnTo>
                <a:lnTo>
                  <a:pt x="291" y="0"/>
                </a:lnTo>
                <a:lnTo>
                  <a:pt x="277" y="1"/>
                </a:lnTo>
                <a:lnTo>
                  <a:pt x="262" y="2"/>
                </a:lnTo>
                <a:lnTo>
                  <a:pt x="248" y="3"/>
                </a:lnTo>
                <a:lnTo>
                  <a:pt x="233" y="6"/>
                </a:lnTo>
                <a:lnTo>
                  <a:pt x="219" y="9"/>
                </a:lnTo>
                <a:lnTo>
                  <a:pt x="206" y="13"/>
                </a:lnTo>
                <a:lnTo>
                  <a:pt x="192" y="18"/>
                </a:lnTo>
                <a:lnTo>
                  <a:pt x="178" y="23"/>
                </a:lnTo>
                <a:lnTo>
                  <a:pt x="165" y="29"/>
                </a:lnTo>
                <a:lnTo>
                  <a:pt x="152" y="35"/>
                </a:lnTo>
                <a:lnTo>
                  <a:pt x="140" y="43"/>
                </a:lnTo>
                <a:lnTo>
                  <a:pt x="128" y="50"/>
                </a:lnTo>
                <a:lnTo>
                  <a:pt x="116" y="58"/>
                </a:lnTo>
                <a:lnTo>
                  <a:pt x="105" y="67"/>
                </a:lnTo>
                <a:lnTo>
                  <a:pt x="95" y="76"/>
                </a:lnTo>
                <a:lnTo>
                  <a:pt x="85" y="85"/>
                </a:lnTo>
                <a:lnTo>
                  <a:pt x="75" y="96"/>
                </a:lnTo>
                <a:lnTo>
                  <a:pt x="67" y="106"/>
                </a:lnTo>
                <a:lnTo>
                  <a:pt x="58" y="117"/>
                </a:lnTo>
                <a:lnTo>
                  <a:pt x="49" y="128"/>
                </a:lnTo>
                <a:lnTo>
                  <a:pt x="42" y="140"/>
                </a:lnTo>
                <a:lnTo>
                  <a:pt x="35" y="153"/>
                </a:lnTo>
                <a:lnTo>
                  <a:pt x="29" y="165"/>
                </a:lnTo>
                <a:lnTo>
                  <a:pt x="22" y="179"/>
                </a:lnTo>
                <a:lnTo>
                  <a:pt x="17" y="192"/>
                </a:lnTo>
                <a:lnTo>
                  <a:pt x="13" y="206"/>
                </a:lnTo>
                <a:lnTo>
                  <a:pt x="8" y="220"/>
                </a:lnTo>
                <a:lnTo>
                  <a:pt x="5" y="234"/>
                </a:lnTo>
                <a:lnTo>
                  <a:pt x="3" y="248"/>
                </a:lnTo>
                <a:lnTo>
                  <a:pt x="1" y="263"/>
                </a:lnTo>
                <a:lnTo>
                  <a:pt x="0" y="277"/>
                </a:lnTo>
                <a:lnTo>
                  <a:pt x="0" y="292"/>
                </a:lnTo>
                <a:lnTo>
                  <a:pt x="0" y="306"/>
                </a:lnTo>
                <a:lnTo>
                  <a:pt x="1" y="322"/>
                </a:lnTo>
                <a:lnTo>
                  <a:pt x="3" y="336"/>
                </a:lnTo>
                <a:lnTo>
                  <a:pt x="5" y="351"/>
                </a:lnTo>
                <a:lnTo>
                  <a:pt x="8" y="365"/>
                </a:lnTo>
                <a:lnTo>
                  <a:pt x="13" y="378"/>
                </a:lnTo>
                <a:lnTo>
                  <a:pt x="17" y="392"/>
                </a:lnTo>
                <a:lnTo>
                  <a:pt x="22" y="406"/>
                </a:lnTo>
                <a:lnTo>
                  <a:pt x="29" y="419"/>
                </a:lnTo>
                <a:lnTo>
                  <a:pt x="35" y="432"/>
                </a:lnTo>
                <a:lnTo>
                  <a:pt x="42" y="444"/>
                </a:lnTo>
                <a:lnTo>
                  <a:pt x="49" y="455"/>
                </a:lnTo>
                <a:lnTo>
                  <a:pt x="58" y="467"/>
                </a:lnTo>
                <a:lnTo>
                  <a:pt x="67" y="478"/>
                </a:lnTo>
                <a:lnTo>
                  <a:pt x="75" y="489"/>
                </a:lnTo>
                <a:lnTo>
                  <a:pt x="85" y="499"/>
                </a:lnTo>
                <a:lnTo>
                  <a:pt x="95" y="508"/>
                </a:lnTo>
                <a:lnTo>
                  <a:pt x="105" y="517"/>
                </a:lnTo>
                <a:lnTo>
                  <a:pt x="116" y="526"/>
                </a:lnTo>
                <a:lnTo>
                  <a:pt x="128" y="534"/>
                </a:lnTo>
                <a:lnTo>
                  <a:pt x="140" y="542"/>
                </a:lnTo>
                <a:lnTo>
                  <a:pt x="152" y="548"/>
                </a:lnTo>
                <a:lnTo>
                  <a:pt x="165" y="555"/>
                </a:lnTo>
                <a:lnTo>
                  <a:pt x="178" y="561"/>
                </a:lnTo>
                <a:lnTo>
                  <a:pt x="192" y="567"/>
                </a:lnTo>
                <a:lnTo>
                  <a:pt x="206" y="571"/>
                </a:lnTo>
                <a:lnTo>
                  <a:pt x="219" y="575"/>
                </a:lnTo>
                <a:lnTo>
                  <a:pt x="233" y="578"/>
                </a:lnTo>
                <a:lnTo>
                  <a:pt x="248" y="581"/>
                </a:lnTo>
                <a:lnTo>
                  <a:pt x="262" y="583"/>
                </a:lnTo>
                <a:lnTo>
                  <a:pt x="277" y="584"/>
                </a:lnTo>
                <a:lnTo>
                  <a:pt x="291" y="584"/>
                </a:lnTo>
                <a:lnTo>
                  <a:pt x="307" y="584"/>
                </a:lnTo>
                <a:lnTo>
                  <a:pt x="324" y="583"/>
                </a:lnTo>
                <a:lnTo>
                  <a:pt x="340" y="581"/>
                </a:lnTo>
                <a:lnTo>
                  <a:pt x="355" y="577"/>
                </a:lnTo>
                <a:lnTo>
                  <a:pt x="371" y="573"/>
                </a:lnTo>
                <a:lnTo>
                  <a:pt x="386" y="569"/>
                </a:lnTo>
                <a:lnTo>
                  <a:pt x="401" y="563"/>
                </a:lnTo>
                <a:lnTo>
                  <a:pt x="415" y="557"/>
                </a:lnTo>
                <a:lnTo>
                  <a:pt x="431" y="549"/>
                </a:lnTo>
                <a:lnTo>
                  <a:pt x="445" y="542"/>
                </a:lnTo>
                <a:lnTo>
                  <a:pt x="458" y="533"/>
                </a:lnTo>
                <a:lnTo>
                  <a:pt x="471" y="523"/>
                </a:lnTo>
                <a:lnTo>
                  <a:pt x="482" y="514"/>
                </a:lnTo>
                <a:lnTo>
                  <a:pt x="494" y="503"/>
                </a:lnTo>
                <a:lnTo>
                  <a:pt x="506" y="491"/>
                </a:lnTo>
                <a:lnTo>
                  <a:pt x="516" y="479"/>
                </a:lnTo>
                <a:lnTo>
                  <a:pt x="518" y="475"/>
                </a:lnTo>
                <a:lnTo>
                  <a:pt x="519" y="471"/>
                </a:lnTo>
                <a:lnTo>
                  <a:pt x="518" y="466"/>
                </a:lnTo>
                <a:lnTo>
                  <a:pt x="516" y="463"/>
                </a:lnTo>
                <a:lnTo>
                  <a:pt x="463" y="410"/>
                </a:lnTo>
                <a:lnTo>
                  <a:pt x="459" y="408"/>
                </a:lnTo>
                <a:lnTo>
                  <a:pt x="454" y="407"/>
                </a:lnTo>
                <a:lnTo>
                  <a:pt x="449" y="408"/>
                </a:lnTo>
                <a:lnTo>
                  <a:pt x="446" y="411"/>
                </a:lnTo>
                <a:lnTo>
                  <a:pt x="438" y="420"/>
                </a:lnTo>
                <a:lnTo>
                  <a:pt x="431" y="428"/>
                </a:lnTo>
                <a:lnTo>
                  <a:pt x="423" y="436"/>
                </a:lnTo>
                <a:lnTo>
                  <a:pt x="414" y="444"/>
                </a:lnTo>
                <a:lnTo>
                  <a:pt x="406" y="450"/>
                </a:lnTo>
                <a:lnTo>
                  <a:pt x="396" y="456"/>
                </a:lnTo>
                <a:lnTo>
                  <a:pt x="387" y="462"/>
                </a:lnTo>
                <a:lnTo>
                  <a:pt x="377" y="467"/>
                </a:lnTo>
                <a:lnTo>
                  <a:pt x="367" y="472"/>
                </a:lnTo>
                <a:lnTo>
                  <a:pt x="357" y="476"/>
                </a:lnTo>
                <a:lnTo>
                  <a:pt x="346" y="479"/>
                </a:lnTo>
                <a:lnTo>
                  <a:pt x="336" y="482"/>
                </a:lnTo>
                <a:lnTo>
                  <a:pt x="325" y="485"/>
                </a:lnTo>
                <a:lnTo>
                  <a:pt x="314" y="486"/>
                </a:lnTo>
                <a:lnTo>
                  <a:pt x="303" y="487"/>
                </a:lnTo>
                <a:lnTo>
                  <a:pt x="291" y="487"/>
                </a:lnTo>
                <a:lnTo>
                  <a:pt x="272" y="486"/>
                </a:lnTo>
                <a:lnTo>
                  <a:pt x="252" y="483"/>
                </a:lnTo>
                <a:lnTo>
                  <a:pt x="234" y="478"/>
                </a:lnTo>
                <a:lnTo>
                  <a:pt x="216" y="472"/>
                </a:lnTo>
                <a:lnTo>
                  <a:pt x="198" y="463"/>
                </a:lnTo>
                <a:lnTo>
                  <a:pt x="182" y="453"/>
                </a:lnTo>
                <a:lnTo>
                  <a:pt x="167" y="442"/>
                </a:lnTo>
                <a:lnTo>
                  <a:pt x="154" y="429"/>
                </a:lnTo>
                <a:lnTo>
                  <a:pt x="141" y="417"/>
                </a:lnTo>
                <a:lnTo>
                  <a:pt x="130" y="401"/>
                </a:lnTo>
                <a:lnTo>
                  <a:pt x="121" y="385"/>
                </a:lnTo>
                <a:lnTo>
                  <a:pt x="112" y="368"/>
                </a:lnTo>
                <a:lnTo>
                  <a:pt x="105" y="350"/>
                </a:lnTo>
                <a:lnTo>
                  <a:pt x="100" y="331"/>
                </a:lnTo>
                <a:lnTo>
                  <a:pt x="98" y="312"/>
                </a:lnTo>
                <a:lnTo>
                  <a:pt x="97" y="292"/>
                </a:lnTo>
                <a:lnTo>
                  <a:pt x="98" y="273"/>
                </a:lnTo>
                <a:lnTo>
                  <a:pt x="100" y="253"/>
                </a:lnTo>
                <a:lnTo>
                  <a:pt x="105" y="235"/>
                </a:lnTo>
                <a:lnTo>
                  <a:pt x="112" y="217"/>
                </a:lnTo>
                <a:lnTo>
                  <a:pt x="121" y="199"/>
                </a:lnTo>
                <a:lnTo>
                  <a:pt x="130" y="183"/>
                </a:lnTo>
                <a:lnTo>
                  <a:pt x="141" y="168"/>
                </a:lnTo>
                <a:lnTo>
                  <a:pt x="154" y="154"/>
                </a:lnTo>
                <a:lnTo>
                  <a:pt x="167" y="142"/>
                </a:lnTo>
                <a:lnTo>
                  <a:pt x="182" y="130"/>
                </a:lnTo>
                <a:lnTo>
                  <a:pt x="198" y="121"/>
                </a:lnTo>
                <a:lnTo>
                  <a:pt x="216" y="113"/>
                </a:lnTo>
                <a:lnTo>
                  <a:pt x="234" y="106"/>
                </a:lnTo>
                <a:lnTo>
                  <a:pt x="252" y="101"/>
                </a:lnTo>
                <a:lnTo>
                  <a:pt x="272" y="98"/>
                </a:lnTo>
                <a:lnTo>
                  <a:pt x="291" y="97"/>
                </a:lnTo>
                <a:lnTo>
                  <a:pt x="311" y="98"/>
                </a:lnTo>
                <a:lnTo>
                  <a:pt x="328" y="100"/>
                </a:lnTo>
                <a:lnTo>
                  <a:pt x="346" y="104"/>
                </a:lnTo>
                <a:lnTo>
                  <a:pt x="363" y="110"/>
                </a:lnTo>
                <a:lnTo>
                  <a:pt x="379" y="117"/>
                </a:lnTo>
                <a:lnTo>
                  <a:pt x="395" y="127"/>
                </a:lnTo>
                <a:lnTo>
                  <a:pt x="410" y="137"/>
                </a:lnTo>
                <a:lnTo>
                  <a:pt x="424" y="150"/>
                </a:lnTo>
                <a:lnTo>
                  <a:pt x="372" y="202"/>
                </a:lnTo>
                <a:lnTo>
                  <a:pt x="369" y="205"/>
                </a:lnTo>
                <a:lnTo>
                  <a:pt x="367" y="208"/>
                </a:lnTo>
                <a:lnTo>
                  <a:pt x="366" y="211"/>
                </a:lnTo>
                <a:lnTo>
                  <a:pt x="365" y="215"/>
                </a:lnTo>
                <a:lnTo>
                  <a:pt x="364" y="218"/>
                </a:lnTo>
                <a:lnTo>
                  <a:pt x="365" y="221"/>
                </a:lnTo>
                <a:lnTo>
                  <a:pt x="365" y="224"/>
                </a:lnTo>
                <a:lnTo>
                  <a:pt x="367" y="229"/>
                </a:lnTo>
                <a:lnTo>
                  <a:pt x="370" y="235"/>
                </a:lnTo>
                <a:lnTo>
                  <a:pt x="375" y="239"/>
                </a:lnTo>
                <a:lnTo>
                  <a:pt x="382" y="243"/>
                </a:lnTo>
                <a:lnTo>
                  <a:pt x="388" y="244"/>
                </a:lnTo>
                <a:lnTo>
                  <a:pt x="559" y="244"/>
                </a:lnTo>
                <a:lnTo>
                  <a:pt x="564" y="243"/>
                </a:lnTo>
                <a:lnTo>
                  <a:pt x="569" y="242"/>
                </a:lnTo>
                <a:lnTo>
                  <a:pt x="573" y="239"/>
                </a:lnTo>
                <a:lnTo>
                  <a:pt x="576" y="236"/>
                </a:lnTo>
                <a:lnTo>
                  <a:pt x="580" y="232"/>
                </a:lnTo>
                <a:lnTo>
                  <a:pt x="582" y="229"/>
                </a:lnTo>
                <a:lnTo>
                  <a:pt x="583" y="224"/>
                </a:lnTo>
                <a:lnTo>
                  <a:pt x="584" y="219"/>
                </a:lnTo>
                <a:lnTo>
                  <a:pt x="584" y="48"/>
                </a:lnTo>
                <a:lnTo>
                  <a:pt x="583" y="41"/>
                </a:lnTo>
                <a:lnTo>
                  <a:pt x="580" y="35"/>
                </a:lnTo>
                <a:lnTo>
                  <a:pt x="575" y="30"/>
                </a:lnTo>
                <a:lnTo>
                  <a:pt x="569" y="2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20228" y="2185391"/>
            <a:ext cx="1970091" cy="256480"/>
          </a:xfrm>
          <a:prstGeom prst="rect">
            <a:avLst/>
          </a:prstGeom>
          <a:solidFill>
            <a:srgbClr val="FFFFFF"/>
          </a:solidFill>
          <a:ln/>
        </p:spPr>
        <p:txBody>
          <a:bodyPr wrap="none" lIns="0" tIns="0" rIns="0" bIns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Un cadre </a:t>
            </a:r>
            <a:r>
              <a:rPr lang="fr-FR" sz="2000" b="1" dirty="0" smtClean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externe</a:t>
            </a:r>
            <a:endParaRPr lang="ru-RU" sz="2000" b="1" dirty="0">
              <a:solidFill>
                <a:srgbClr val="17375E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 flipH="1">
            <a:off x="4611986" y="3004928"/>
            <a:ext cx="1878362" cy="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Овал 26"/>
          <p:cNvSpPr/>
          <p:nvPr/>
        </p:nvSpPr>
        <p:spPr>
          <a:xfrm>
            <a:off x="6331081" y="2799002"/>
            <a:ext cx="379689" cy="379689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8" name="Freeform 38"/>
          <p:cNvSpPr>
            <a:spLocks/>
          </p:cNvSpPr>
          <p:nvPr/>
        </p:nvSpPr>
        <p:spPr bwMode="auto">
          <a:xfrm>
            <a:off x="6450363" y="2918752"/>
            <a:ext cx="141126" cy="140191"/>
          </a:xfrm>
          <a:custGeom>
            <a:avLst/>
            <a:gdLst>
              <a:gd name="T0" fmla="*/ 441 w 452"/>
              <a:gd name="T1" fmla="*/ 114 h 452"/>
              <a:gd name="T2" fmla="*/ 449 w 452"/>
              <a:gd name="T3" fmla="*/ 102 h 452"/>
              <a:gd name="T4" fmla="*/ 452 w 452"/>
              <a:gd name="T5" fmla="*/ 88 h 452"/>
              <a:gd name="T6" fmla="*/ 449 w 452"/>
              <a:gd name="T7" fmla="*/ 74 h 452"/>
              <a:gd name="T8" fmla="*/ 441 w 452"/>
              <a:gd name="T9" fmla="*/ 62 h 452"/>
              <a:gd name="T10" fmla="*/ 383 w 452"/>
              <a:gd name="T11" fmla="*/ 6 h 452"/>
              <a:gd name="T12" fmla="*/ 371 w 452"/>
              <a:gd name="T13" fmla="*/ 1 h 452"/>
              <a:gd name="T14" fmla="*/ 356 w 452"/>
              <a:gd name="T15" fmla="*/ 1 h 452"/>
              <a:gd name="T16" fmla="*/ 344 w 452"/>
              <a:gd name="T17" fmla="*/ 6 h 452"/>
              <a:gd name="T18" fmla="*/ 226 w 452"/>
              <a:gd name="T19" fmla="*/ 123 h 452"/>
              <a:gd name="T20" fmla="*/ 108 w 452"/>
              <a:gd name="T21" fmla="*/ 6 h 452"/>
              <a:gd name="T22" fmla="*/ 95 w 452"/>
              <a:gd name="T23" fmla="*/ 1 h 452"/>
              <a:gd name="T24" fmla="*/ 81 w 452"/>
              <a:gd name="T25" fmla="*/ 1 h 452"/>
              <a:gd name="T26" fmla="*/ 68 w 452"/>
              <a:gd name="T27" fmla="*/ 6 h 452"/>
              <a:gd name="T28" fmla="*/ 10 w 452"/>
              <a:gd name="T29" fmla="*/ 62 h 452"/>
              <a:gd name="T30" fmla="*/ 2 w 452"/>
              <a:gd name="T31" fmla="*/ 74 h 452"/>
              <a:gd name="T32" fmla="*/ 0 w 452"/>
              <a:gd name="T33" fmla="*/ 88 h 452"/>
              <a:gd name="T34" fmla="*/ 2 w 452"/>
              <a:gd name="T35" fmla="*/ 102 h 452"/>
              <a:gd name="T36" fmla="*/ 10 w 452"/>
              <a:gd name="T37" fmla="*/ 114 h 452"/>
              <a:gd name="T38" fmla="*/ 10 w 452"/>
              <a:gd name="T39" fmla="*/ 338 h 452"/>
              <a:gd name="T40" fmla="*/ 2 w 452"/>
              <a:gd name="T41" fmla="*/ 349 h 452"/>
              <a:gd name="T42" fmla="*/ 0 w 452"/>
              <a:gd name="T43" fmla="*/ 363 h 452"/>
              <a:gd name="T44" fmla="*/ 2 w 452"/>
              <a:gd name="T45" fmla="*/ 378 h 452"/>
              <a:gd name="T46" fmla="*/ 10 w 452"/>
              <a:gd name="T47" fmla="*/ 389 h 452"/>
              <a:gd name="T48" fmla="*/ 68 w 452"/>
              <a:gd name="T49" fmla="*/ 447 h 452"/>
              <a:gd name="T50" fmla="*/ 81 w 452"/>
              <a:gd name="T51" fmla="*/ 451 h 452"/>
              <a:gd name="T52" fmla="*/ 95 w 452"/>
              <a:gd name="T53" fmla="*/ 451 h 452"/>
              <a:gd name="T54" fmla="*/ 108 w 452"/>
              <a:gd name="T55" fmla="*/ 447 h 452"/>
              <a:gd name="T56" fmla="*/ 226 w 452"/>
              <a:gd name="T57" fmla="*/ 330 h 452"/>
              <a:gd name="T58" fmla="*/ 344 w 452"/>
              <a:gd name="T59" fmla="*/ 447 h 452"/>
              <a:gd name="T60" fmla="*/ 356 w 452"/>
              <a:gd name="T61" fmla="*/ 451 h 452"/>
              <a:gd name="T62" fmla="*/ 371 w 452"/>
              <a:gd name="T63" fmla="*/ 451 h 452"/>
              <a:gd name="T64" fmla="*/ 383 w 452"/>
              <a:gd name="T65" fmla="*/ 447 h 452"/>
              <a:gd name="T66" fmla="*/ 441 w 452"/>
              <a:gd name="T67" fmla="*/ 389 h 452"/>
              <a:gd name="T68" fmla="*/ 449 w 452"/>
              <a:gd name="T69" fmla="*/ 378 h 452"/>
              <a:gd name="T70" fmla="*/ 452 w 452"/>
              <a:gd name="T71" fmla="*/ 363 h 452"/>
              <a:gd name="T72" fmla="*/ 449 w 452"/>
              <a:gd name="T73" fmla="*/ 349 h 452"/>
              <a:gd name="T74" fmla="*/ 441 w 452"/>
              <a:gd name="T75" fmla="*/ 338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52" h="452">
                <a:moveTo>
                  <a:pt x="329" y="226"/>
                </a:moveTo>
                <a:lnTo>
                  <a:pt x="441" y="114"/>
                </a:lnTo>
                <a:lnTo>
                  <a:pt x="446" y="109"/>
                </a:lnTo>
                <a:lnTo>
                  <a:pt x="449" y="102"/>
                </a:lnTo>
                <a:lnTo>
                  <a:pt x="450" y="96"/>
                </a:lnTo>
                <a:lnTo>
                  <a:pt x="452" y="88"/>
                </a:lnTo>
                <a:lnTo>
                  <a:pt x="450" y="81"/>
                </a:lnTo>
                <a:lnTo>
                  <a:pt x="449" y="74"/>
                </a:lnTo>
                <a:lnTo>
                  <a:pt x="446" y="68"/>
                </a:lnTo>
                <a:lnTo>
                  <a:pt x="441" y="62"/>
                </a:lnTo>
                <a:lnTo>
                  <a:pt x="389" y="10"/>
                </a:lnTo>
                <a:lnTo>
                  <a:pt x="383" y="6"/>
                </a:lnTo>
                <a:lnTo>
                  <a:pt x="377" y="3"/>
                </a:lnTo>
                <a:lnTo>
                  <a:pt x="371" y="1"/>
                </a:lnTo>
                <a:lnTo>
                  <a:pt x="363" y="0"/>
                </a:lnTo>
                <a:lnTo>
                  <a:pt x="356" y="1"/>
                </a:lnTo>
                <a:lnTo>
                  <a:pt x="349" y="3"/>
                </a:lnTo>
                <a:lnTo>
                  <a:pt x="344" y="6"/>
                </a:lnTo>
                <a:lnTo>
                  <a:pt x="337" y="10"/>
                </a:lnTo>
                <a:lnTo>
                  <a:pt x="226" y="123"/>
                </a:lnTo>
                <a:lnTo>
                  <a:pt x="113" y="10"/>
                </a:lnTo>
                <a:lnTo>
                  <a:pt x="108" y="6"/>
                </a:lnTo>
                <a:lnTo>
                  <a:pt x="102" y="3"/>
                </a:lnTo>
                <a:lnTo>
                  <a:pt x="95" y="1"/>
                </a:lnTo>
                <a:lnTo>
                  <a:pt x="88" y="0"/>
                </a:lnTo>
                <a:lnTo>
                  <a:pt x="81" y="1"/>
                </a:lnTo>
                <a:lnTo>
                  <a:pt x="74" y="3"/>
                </a:lnTo>
                <a:lnTo>
                  <a:pt x="68" y="6"/>
                </a:lnTo>
                <a:lnTo>
                  <a:pt x="62" y="10"/>
                </a:lnTo>
                <a:lnTo>
                  <a:pt x="10" y="62"/>
                </a:lnTo>
                <a:lnTo>
                  <a:pt x="5" y="68"/>
                </a:lnTo>
                <a:lnTo>
                  <a:pt x="2" y="74"/>
                </a:lnTo>
                <a:lnTo>
                  <a:pt x="0" y="81"/>
                </a:lnTo>
                <a:lnTo>
                  <a:pt x="0" y="88"/>
                </a:lnTo>
                <a:lnTo>
                  <a:pt x="0" y="96"/>
                </a:lnTo>
                <a:lnTo>
                  <a:pt x="2" y="102"/>
                </a:lnTo>
                <a:lnTo>
                  <a:pt x="5" y="109"/>
                </a:lnTo>
                <a:lnTo>
                  <a:pt x="10" y="114"/>
                </a:lnTo>
                <a:lnTo>
                  <a:pt x="122" y="226"/>
                </a:lnTo>
                <a:lnTo>
                  <a:pt x="10" y="338"/>
                </a:lnTo>
                <a:lnTo>
                  <a:pt x="5" y="344"/>
                </a:lnTo>
                <a:lnTo>
                  <a:pt x="2" y="349"/>
                </a:lnTo>
                <a:lnTo>
                  <a:pt x="0" y="357"/>
                </a:lnTo>
                <a:lnTo>
                  <a:pt x="0" y="363"/>
                </a:lnTo>
                <a:lnTo>
                  <a:pt x="0" y="371"/>
                </a:lnTo>
                <a:lnTo>
                  <a:pt x="2" y="378"/>
                </a:lnTo>
                <a:lnTo>
                  <a:pt x="5" y="384"/>
                </a:lnTo>
                <a:lnTo>
                  <a:pt x="10" y="389"/>
                </a:lnTo>
                <a:lnTo>
                  <a:pt x="62" y="441"/>
                </a:lnTo>
                <a:lnTo>
                  <a:pt x="68" y="447"/>
                </a:lnTo>
                <a:lnTo>
                  <a:pt x="74" y="450"/>
                </a:lnTo>
                <a:lnTo>
                  <a:pt x="81" y="451"/>
                </a:lnTo>
                <a:lnTo>
                  <a:pt x="88" y="452"/>
                </a:lnTo>
                <a:lnTo>
                  <a:pt x="95" y="451"/>
                </a:lnTo>
                <a:lnTo>
                  <a:pt x="102" y="450"/>
                </a:lnTo>
                <a:lnTo>
                  <a:pt x="108" y="447"/>
                </a:lnTo>
                <a:lnTo>
                  <a:pt x="113" y="441"/>
                </a:lnTo>
                <a:lnTo>
                  <a:pt x="226" y="330"/>
                </a:lnTo>
                <a:lnTo>
                  <a:pt x="337" y="441"/>
                </a:lnTo>
                <a:lnTo>
                  <a:pt x="344" y="447"/>
                </a:lnTo>
                <a:lnTo>
                  <a:pt x="349" y="450"/>
                </a:lnTo>
                <a:lnTo>
                  <a:pt x="356" y="451"/>
                </a:lnTo>
                <a:lnTo>
                  <a:pt x="363" y="452"/>
                </a:lnTo>
                <a:lnTo>
                  <a:pt x="371" y="451"/>
                </a:lnTo>
                <a:lnTo>
                  <a:pt x="377" y="450"/>
                </a:lnTo>
                <a:lnTo>
                  <a:pt x="383" y="447"/>
                </a:lnTo>
                <a:lnTo>
                  <a:pt x="389" y="441"/>
                </a:lnTo>
                <a:lnTo>
                  <a:pt x="441" y="389"/>
                </a:lnTo>
                <a:lnTo>
                  <a:pt x="446" y="384"/>
                </a:lnTo>
                <a:lnTo>
                  <a:pt x="449" y="378"/>
                </a:lnTo>
                <a:lnTo>
                  <a:pt x="450" y="371"/>
                </a:lnTo>
                <a:lnTo>
                  <a:pt x="452" y="363"/>
                </a:lnTo>
                <a:lnTo>
                  <a:pt x="450" y="357"/>
                </a:lnTo>
                <a:lnTo>
                  <a:pt x="449" y="349"/>
                </a:lnTo>
                <a:lnTo>
                  <a:pt x="446" y="344"/>
                </a:lnTo>
                <a:lnTo>
                  <a:pt x="441" y="338"/>
                </a:lnTo>
                <a:lnTo>
                  <a:pt x="329" y="22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>
                  <a:lumMod val="75000"/>
                  <a:lumOff val="25000"/>
                </a:prst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9" name="Прямоугольник 21"/>
          <p:cNvSpPr/>
          <p:nvPr/>
        </p:nvSpPr>
        <p:spPr>
          <a:xfrm>
            <a:off x="6803102" y="2802320"/>
            <a:ext cx="1899559" cy="256480"/>
          </a:xfrm>
          <a:prstGeom prst="rect">
            <a:avLst/>
          </a:prstGeom>
          <a:solidFill>
            <a:srgbClr val="FFFFFF"/>
          </a:solidFill>
          <a:ln/>
        </p:spPr>
        <p:txBody>
          <a:bodyPr wrap="none" lIns="0" tIns="0" rIns="0" bIns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Un cadre interne</a:t>
            </a:r>
          </a:p>
        </p:txBody>
      </p:sp>
      <p:sp>
        <p:nvSpPr>
          <p:cNvPr id="23" name="Espace réservé du texte 2"/>
          <p:cNvSpPr txBox="1">
            <a:spLocks/>
          </p:cNvSpPr>
          <p:nvPr/>
        </p:nvSpPr>
        <p:spPr>
          <a:xfrm>
            <a:off x="304799" y="266513"/>
            <a:ext cx="8534400" cy="692337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800" b="1" smtClean="0">
                <a:solidFill>
                  <a:srgbClr val="C2113A"/>
                </a:solidFill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PEOPLE PATTERNS</a:t>
            </a:r>
            <a:endParaRPr lang="en-US" sz="1800" b="1" dirty="0">
              <a:solidFill>
                <a:srgbClr val="C2113A"/>
              </a:solidFill>
              <a:latin typeface="Gill Sans" panose="020B0604020202020204"/>
              <a:ea typeface="Calibri" panose="020F0502020204030204" pitchFamily="34" charset="0"/>
              <a:cs typeface="Helvetica Neue" panose="02000806000000020004" pitchFamily="5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93CFF505-68DE-4B5F-B701-807E558A008E}" type="slidenum">
              <a:rPr lang="fr-FR" sz="1200" smtClean="0">
                <a:latin typeface="Gill Sans" panose="020B0604020202020204"/>
              </a:rPr>
              <a:pPr algn="ctr"/>
              <a:t>16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38146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304225" y="958850"/>
            <a:ext cx="8534400" cy="1333698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lvl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 smtClean="0">
                <a:solidFill>
                  <a:srgbClr val="17375E"/>
                </a:solidFill>
                <a:effectLst/>
                <a:latin typeface="Gill Sans" panose="020B0604020202020204"/>
                <a:ea typeface="Arial" panose="020B0604020202020204" pitchFamily="34" charset="0"/>
              </a:rPr>
              <a:t>Décrire les étapes du développement de l'équipe et les </a:t>
            </a:r>
            <a:r>
              <a:rPr lang="en-US" sz="2000" dirty="0" err="1" smtClean="0">
                <a:solidFill>
                  <a:srgbClr val="17375E"/>
                </a:solidFill>
                <a:effectLst/>
                <a:latin typeface="Gill Sans" panose="020B0604020202020204"/>
                <a:ea typeface="Arial" panose="020B0604020202020204" pitchFamily="34" charset="0"/>
              </a:rPr>
              <a:t>mesures</a:t>
            </a:r>
            <a:r>
              <a:rPr lang="en-US" sz="2000" dirty="0" smtClean="0">
                <a:solidFill>
                  <a:srgbClr val="17375E"/>
                </a:solidFill>
                <a:effectLst/>
                <a:latin typeface="Gill Sans" panose="020B0604020202020204"/>
                <a:ea typeface="Arial" panose="020B0604020202020204" pitchFamily="34" charset="0"/>
              </a:rPr>
              <a:t> de management appropriées à chaque étape.</a:t>
            </a:r>
            <a:endParaRPr lang="fr-FR" sz="2000" dirty="0" smtClean="0">
              <a:solidFill>
                <a:srgbClr val="17375E"/>
              </a:solidFill>
              <a:effectLst/>
              <a:latin typeface="Gill Sans" panose="020B0604020202020204"/>
              <a:ea typeface="Calibri" panose="020F0502020204030204" pitchFamily="34" charset="0"/>
            </a:endParaRPr>
          </a:p>
          <a:p>
            <a:pPr lvl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 smtClean="0">
                <a:solidFill>
                  <a:srgbClr val="17375E"/>
                </a:solidFill>
                <a:effectLst/>
                <a:latin typeface="Gill Sans" panose="020B0604020202020204"/>
                <a:ea typeface="Arial" panose="020B0604020202020204" pitchFamily="34" charset="0"/>
              </a:rPr>
              <a:t>Discuter des différences dans les rôles et les perspectives et la façon dont la combinaison peut créer une équipe solide.</a:t>
            </a:r>
            <a:endParaRPr lang="fr-FR" sz="2000" dirty="0">
              <a:solidFill>
                <a:srgbClr val="17375E"/>
              </a:solidFill>
              <a:effectLst/>
              <a:latin typeface="Gill Sans" panose="020B0604020202020204"/>
              <a:ea typeface="Calibri" panose="020F0502020204030204" pitchFamily="34" charset="0"/>
            </a:endParaRPr>
          </a:p>
        </p:txBody>
      </p:sp>
      <p:sp>
        <p:nvSpPr>
          <p:cNvPr id="3" name="Espace réservé du texte 2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b="1" smtClean="0">
                <a:solidFill>
                  <a:srgbClr val="C2113A"/>
                </a:solidFill>
              </a:rPr>
              <a:t>LES OBJECTIFS D'APPRENTISSAGE</a:t>
            </a:r>
            <a:endParaRPr lang="fr-FR" sz="1800" b="1" dirty="0">
              <a:solidFill>
                <a:srgbClr val="C2113A"/>
              </a:solidFill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EACB3AF4-990A-45DF-AA1D-29D638423B71}" type="slidenum">
              <a:rPr lang="fr-FR" sz="1200" smtClean="0">
                <a:latin typeface="Gill Sans" panose="020B0604020202020204"/>
              </a:rPr>
              <a:pPr algn="ctr"/>
              <a:t>2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21285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5169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b="1" dirty="0">
                <a:solidFill>
                  <a:srgbClr val="17375E"/>
                </a:solidFill>
                <a:latin typeface="Gill Sans" panose="020B0604020202020204"/>
              </a:rPr>
              <a:t>IMPORTANCE DES INSTRUCTIONS CLAIRES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pic>
        <p:nvPicPr>
          <p:cNvPr id="6" name="Espace réservé pour une image  5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3" b="25553"/>
          <a:stretch>
            <a:fillRect/>
          </a:stretch>
        </p:blipFill>
        <p:spPr>
          <a:xfrm>
            <a:off x="0" y="2096457"/>
            <a:ext cx="9144000" cy="3145981"/>
          </a:xfrm>
        </p:spPr>
      </p:pic>
      <p:sp>
        <p:nvSpPr>
          <p:cNvPr id="4" name="ZoneTexte 3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F20175AA-12C1-4FDE-9CC4-1605FB3577A8}" type="slidenum">
              <a:rPr lang="fr-FR" sz="1200" smtClean="0">
                <a:latin typeface="Gill Sans" panose="020B0604020202020204"/>
              </a:rPr>
              <a:pPr algn="ctr"/>
              <a:t>3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523318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29630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texte 2"/>
          <p:cNvSpPr txBox="1">
            <a:spLocks/>
          </p:cNvSpPr>
          <p:nvPr/>
        </p:nvSpPr>
        <p:spPr>
          <a:xfrm>
            <a:off x="304224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 smtClean="0">
                <a:solidFill>
                  <a:srgbClr val="17375E"/>
                </a:solidFill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Les fonctions d'équipe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0911" y="1102549"/>
            <a:ext cx="5993948" cy="3274130"/>
          </a:xfrm>
          <a:prstGeom prst="rect">
            <a:avLst/>
          </a:prstGeom>
        </p:spPr>
      </p:pic>
      <p:sp>
        <p:nvSpPr>
          <p:cNvPr id="7" name="Прямоугольник 14"/>
          <p:cNvSpPr/>
          <p:nvPr/>
        </p:nvSpPr>
        <p:spPr>
          <a:xfrm>
            <a:off x="988560" y="4638522"/>
            <a:ext cx="3384439" cy="307777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Fonctions de tâches </a:t>
            </a:r>
            <a:endParaRPr lang="fr-FR" sz="2000" dirty="0">
              <a:solidFill>
                <a:srgbClr val="17375E"/>
              </a:solidFill>
              <a:latin typeface="Gill Sans" panose="020B0604020202020204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14"/>
          <p:cNvSpPr/>
          <p:nvPr/>
        </p:nvSpPr>
        <p:spPr>
          <a:xfrm>
            <a:off x="4372999" y="4632425"/>
            <a:ext cx="3954215" cy="307777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Fonctions de soutien </a:t>
            </a:r>
            <a:endParaRPr lang="fr-FR" sz="2000" dirty="0">
              <a:solidFill>
                <a:srgbClr val="17375E"/>
              </a:solidFill>
              <a:latin typeface="Gill Sans" panose="020B0604020202020204"/>
              <a:ea typeface="ＭＳ Ｐゴシック" panose="020B0600070205080204" pitchFamily="34" charset="-128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C975EBA5-9E61-4BE7-AEC3-0BECB2212B89}" type="slidenum">
              <a:rPr lang="fr-FR" sz="1200" smtClean="0">
                <a:latin typeface="Gill Sans" panose="020B0604020202020204"/>
              </a:rPr>
              <a:pPr algn="ctr"/>
              <a:t>4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4171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1219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Diapositive think-cell" r:id="rId6" imgW="425" imgH="426" progId="TCLayout.ActiveDocument.1">
                  <p:embed/>
                </p:oleObj>
              </mc:Choice>
              <mc:Fallback>
                <p:oleObj name="Diapositive think-cell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448777" y="3260751"/>
            <a:ext cx="7853572" cy="850128"/>
            <a:chOff x="598367" y="3859010"/>
            <a:chExt cx="10296478" cy="1133504"/>
          </a:xfrm>
        </p:grpSpPr>
        <p:sp>
          <p:nvSpPr>
            <p:cNvPr id="109" name="Pentagon 108"/>
            <p:cNvSpPr/>
            <p:nvPr/>
          </p:nvSpPr>
          <p:spPr>
            <a:xfrm>
              <a:off x="3948144" y="3859010"/>
              <a:ext cx="6946701" cy="940875"/>
            </a:xfrm>
            <a:prstGeom prst="homePlate">
              <a:avLst>
                <a:gd name="adj" fmla="val 29123"/>
              </a:avLst>
            </a:prstGeom>
            <a:solidFill>
              <a:srgbClr val="637C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  <a:latin typeface="Gill Sans" panose="020B0604020202020204"/>
              </a:endParaRPr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598367" y="3861298"/>
              <a:ext cx="3349776" cy="1131216"/>
              <a:chOff x="476297" y="3575549"/>
              <a:chExt cx="3349776" cy="1131216"/>
            </a:xfrm>
          </p:grpSpPr>
          <p:sp>
            <p:nvSpPr>
              <p:cNvPr id="87" name="Rectangle 12"/>
              <p:cNvSpPr/>
              <p:nvPr/>
            </p:nvSpPr>
            <p:spPr>
              <a:xfrm rot="16200000" flipV="1">
                <a:off x="2850468" y="3731159"/>
                <a:ext cx="1131216" cy="819995"/>
              </a:xfrm>
              <a:custGeom>
                <a:avLst/>
                <a:gdLst>
                  <a:gd name="connsiteX0" fmla="*/ 0 w 1016000"/>
                  <a:gd name="connsiteY0" fmla="*/ 0 h 768404"/>
                  <a:gd name="connsiteX1" fmla="*/ 1016000 w 1016000"/>
                  <a:gd name="connsiteY1" fmla="*/ 0 h 768404"/>
                  <a:gd name="connsiteX2" fmla="*/ 1016000 w 1016000"/>
                  <a:gd name="connsiteY2" fmla="*/ 768404 h 768404"/>
                  <a:gd name="connsiteX3" fmla="*/ 0 w 1016000"/>
                  <a:gd name="connsiteY3" fmla="*/ 768404 h 768404"/>
                  <a:gd name="connsiteX4" fmla="*/ 0 w 1016000"/>
                  <a:gd name="connsiteY4" fmla="*/ 0 h 768404"/>
                  <a:gd name="connsiteX0" fmla="*/ 729673 w 1745673"/>
                  <a:gd name="connsiteY0" fmla="*/ 0 h 777641"/>
                  <a:gd name="connsiteX1" fmla="*/ 1745673 w 1745673"/>
                  <a:gd name="connsiteY1" fmla="*/ 0 h 777641"/>
                  <a:gd name="connsiteX2" fmla="*/ 1745673 w 1745673"/>
                  <a:gd name="connsiteY2" fmla="*/ 768404 h 777641"/>
                  <a:gd name="connsiteX3" fmla="*/ 0 w 1745673"/>
                  <a:gd name="connsiteY3" fmla="*/ 777641 h 777641"/>
                  <a:gd name="connsiteX4" fmla="*/ 729673 w 1745673"/>
                  <a:gd name="connsiteY4" fmla="*/ 0 h 777641"/>
                  <a:gd name="connsiteX0" fmla="*/ 729673 w 1745673"/>
                  <a:gd name="connsiteY0" fmla="*/ 0 h 777641"/>
                  <a:gd name="connsiteX1" fmla="*/ 1745673 w 1745673"/>
                  <a:gd name="connsiteY1" fmla="*/ 0 h 777641"/>
                  <a:gd name="connsiteX2" fmla="*/ 1317048 w 1745673"/>
                  <a:gd name="connsiteY2" fmla="*/ 770785 h 777641"/>
                  <a:gd name="connsiteX3" fmla="*/ 0 w 1745673"/>
                  <a:gd name="connsiteY3" fmla="*/ 777641 h 777641"/>
                  <a:gd name="connsiteX4" fmla="*/ 729673 w 1745673"/>
                  <a:gd name="connsiteY4" fmla="*/ 0 h 777641"/>
                  <a:gd name="connsiteX0" fmla="*/ 720148 w 1736148"/>
                  <a:gd name="connsiteY0" fmla="*/ 0 h 770785"/>
                  <a:gd name="connsiteX1" fmla="*/ 1736148 w 1736148"/>
                  <a:gd name="connsiteY1" fmla="*/ 0 h 770785"/>
                  <a:gd name="connsiteX2" fmla="*/ 1307523 w 1736148"/>
                  <a:gd name="connsiteY2" fmla="*/ 770785 h 770785"/>
                  <a:gd name="connsiteX3" fmla="*/ 0 w 1736148"/>
                  <a:gd name="connsiteY3" fmla="*/ 770497 h 770785"/>
                  <a:gd name="connsiteX4" fmla="*/ 720148 w 1736148"/>
                  <a:gd name="connsiteY4" fmla="*/ 0 h 770785"/>
                  <a:gd name="connsiteX0" fmla="*/ 720148 w 1736148"/>
                  <a:gd name="connsiteY0" fmla="*/ 0 h 770497"/>
                  <a:gd name="connsiteX1" fmla="*/ 1736148 w 1736148"/>
                  <a:gd name="connsiteY1" fmla="*/ 0 h 770497"/>
                  <a:gd name="connsiteX2" fmla="*/ 1590892 w 1736148"/>
                  <a:gd name="connsiteY2" fmla="*/ 768404 h 770497"/>
                  <a:gd name="connsiteX3" fmla="*/ 0 w 1736148"/>
                  <a:gd name="connsiteY3" fmla="*/ 770497 h 770497"/>
                  <a:gd name="connsiteX4" fmla="*/ 720148 w 1736148"/>
                  <a:gd name="connsiteY4" fmla="*/ 0 h 770497"/>
                  <a:gd name="connsiteX0" fmla="*/ 429636 w 1445636"/>
                  <a:gd name="connsiteY0" fmla="*/ 0 h 768404"/>
                  <a:gd name="connsiteX1" fmla="*/ 1445636 w 1445636"/>
                  <a:gd name="connsiteY1" fmla="*/ 0 h 768404"/>
                  <a:gd name="connsiteX2" fmla="*/ 1300380 w 1445636"/>
                  <a:gd name="connsiteY2" fmla="*/ 768404 h 768404"/>
                  <a:gd name="connsiteX3" fmla="*/ 0 w 1445636"/>
                  <a:gd name="connsiteY3" fmla="*/ 768116 h 768404"/>
                  <a:gd name="connsiteX4" fmla="*/ 429636 w 1445636"/>
                  <a:gd name="connsiteY4" fmla="*/ 0 h 768404"/>
                  <a:gd name="connsiteX0" fmla="*/ 433913 w 1449913"/>
                  <a:gd name="connsiteY0" fmla="*/ 0 h 771964"/>
                  <a:gd name="connsiteX1" fmla="*/ 1449913 w 1449913"/>
                  <a:gd name="connsiteY1" fmla="*/ 0 h 771964"/>
                  <a:gd name="connsiteX2" fmla="*/ 1304657 w 1449913"/>
                  <a:gd name="connsiteY2" fmla="*/ 768404 h 771964"/>
                  <a:gd name="connsiteX3" fmla="*/ 0 w 1449913"/>
                  <a:gd name="connsiteY3" fmla="*/ 771964 h 771964"/>
                  <a:gd name="connsiteX4" fmla="*/ 433913 w 1449913"/>
                  <a:gd name="connsiteY4" fmla="*/ 0 h 771964"/>
                  <a:gd name="connsiteX0" fmla="*/ 433913 w 1449913"/>
                  <a:gd name="connsiteY0" fmla="*/ 0 h 774176"/>
                  <a:gd name="connsiteX1" fmla="*/ 1449913 w 1449913"/>
                  <a:gd name="connsiteY1" fmla="*/ 0 h 774176"/>
                  <a:gd name="connsiteX2" fmla="*/ 1306795 w 1449913"/>
                  <a:gd name="connsiteY2" fmla="*/ 774176 h 774176"/>
                  <a:gd name="connsiteX3" fmla="*/ 0 w 1449913"/>
                  <a:gd name="connsiteY3" fmla="*/ 771964 h 774176"/>
                  <a:gd name="connsiteX4" fmla="*/ 433913 w 1449913"/>
                  <a:gd name="connsiteY4" fmla="*/ 0 h 774176"/>
                  <a:gd name="connsiteX0" fmla="*/ 429635 w 1445635"/>
                  <a:gd name="connsiteY0" fmla="*/ 0 h 777737"/>
                  <a:gd name="connsiteX1" fmla="*/ 1445635 w 1445635"/>
                  <a:gd name="connsiteY1" fmla="*/ 0 h 777737"/>
                  <a:gd name="connsiteX2" fmla="*/ 1302517 w 1445635"/>
                  <a:gd name="connsiteY2" fmla="*/ 774176 h 777737"/>
                  <a:gd name="connsiteX3" fmla="*/ 0 w 1445635"/>
                  <a:gd name="connsiteY3" fmla="*/ 777737 h 777737"/>
                  <a:gd name="connsiteX4" fmla="*/ 429635 w 1445635"/>
                  <a:gd name="connsiteY4" fmla="*/ 0 h 777737"/>
                  <a:gd name="connsiteX0" fmla="*/ 431773 w 1447773"/>
                  <a:gd name="connsiteY0" fmla="*/ 0 h 774176"/>
                  <a:gd name="connsiteX1" fmla="*/ 1447773 w 1447773"/>
                  <a:gd name="connsiteY1" fmla="*/ 0 h 774176"/>
                  <a:gd name="connsiteX2" fmla="*/ 1304655 w 1447773"/>
                  <a:gd name="connsiteY2" fmla="*/ 774176 h 774176"/>
                  <a:gd name="connsiteX3" fmla="*/ 0 w 1447773"/>
                  <a:gd name="connsiteY3" fmla="*/ 773889 h 774176"/>
                  <a:gd name="connsiteX4" fmla="*/ 431773 w 1447773"/>
                  <a:gd name="connsiteY4" fmla="*/ 0 h 774176"/>
                  <a:gd name="connsiteX0" fmla="*/ 429634 w 1447773"/>
                  <a:gd name="connsiteY0" fmla="*/ 0 h 774176"/>
                  <a:gd name="connsiteX1" fmla="*/ 1447773 w 1447773"/>
                  <a:gd name="connsiteY1" fmla="*/ 0 h 774176"/>
                  <a:gd name="connsiteX2" fmla="*/ 1304655 w 1447773"/>
                  <a:gd name="connsiteY2" fmla="*/ 774176 h 774176"/>
                  <a:gd name="connsiteX3" fmla="*/ 0 w 1447773"/>
                  <a:gd name="connsiteY3" fmla="*/ 773889 h 774176"/>
                  <a:gd name="connsiteX4" fmla="*/ 429634 w 1447773"/>
                  <a:gd name="connsiteY4" fmla="*/ 0 h 774176"/>
                  <a:gd name="connsiteX0" fmla="*/ 436049 w 1454188"/>
                  <a:gd name="connsiteY0" fmla="*/ 0 h 774176"/>
                  <a:gd name="connsiteX1" fmla="*/ 1454188 w 1454188"/>
                  <a:gd name="connsiteY1" fmla="*/ 0 h 774176"/>
                  <a:gd name="connsiteX2" fmla="*/ 1311070 w 1454188"/>
                  <a:gd name="connsiteY2" fmla="*/ 774176 h 774176"/>
                  <a:gd name="connsiteX3" fmla="*/ 0 w 1454188"/>
                  <a:gd name="connsiteY3" fmla="*/ 773889 h 774176"/>
                  <a:gd name="connsiteX4" fmla="*/ 436049 w 1454188"/>
                  <a:gd name="connsiteY4" fmla="*/ 0 h 774176"/>
                  <a:gd name="connsiteX0" fmla="*/ 436049 w 1458640"/>
                  <a:gd name="connsiteY0" fmla="*/ 0 h 774176"/>
                  <a:gd name="connsiteX1" fmla="*/ 1454188 w 1458640"/>
                  <a:gd name="connsiteY1" fmla="*/ 0 h 774176"/>
                  <a:gd name="connsiteX2" fmla="*/ 1458640 w 1458640"/>
                  <a:gd name="connsiteY2" fmla="*/ 774176 h 774176"/>
                  <a:gd name="connsiteX3" fmla="*/ 0 w 1458640"/>
                  <a:gd name="connsiteY3" fmla="*/ 773889 h 774176"/>
                  <a:gd name="connsiteX4" fmla="*/ 436049 w 1458640"/>
                  <a:gd name="connsiteY4" fmla="*/ 0 h 774176"/>
                  <a:gd name="connsiteX0" fmla="*/ 436049 w 1454363"/>
                  <a:gd name="connsiteY0" fmla="*/ 0 h 774176"/>
                  <a:gd name="connsiteX1" fmla="*/ 1454188 w 1454363"/>
                  <a:gd name="connsiteY1" fmla="*/ 0 h 774176"/>
                  <a:gd name="connsiteX2" fmla="*/ 1454363 w 1454363"/>
                  <a:gd name="connsiteY2" fmla="*/ 774176 h 774176"/>
                  <a:gd name="connsiteX3" fmla="*/ 0 w 1454363"/>
                  <a:gd name="connsiteY3" fmla="*/ 773889 h 774176"/>
                  <a:gd name="connsiteX4" fmla="*/ 436049 w 1454363"/>
                  <a:gd name="connsiteY4" fmla="*/ 0 h 774176"/>
                  <a:gd name="connsiteX0" fmla="*/ 369749 w 1388063"/>
                  <a:gd name="connsiteY0" fmla="*/ 0 h 774176"/>
                  <a:gd name="connsiteX1" fmla="*/ 1387888 w 1388063"/>
                  <a:gd name="connsiteY1" fmla="*/ 0 h 774176"/>
                  <a:gd name="connsiteX2" fmla="*/ 1388063 w 1388063"/>
                  <a:gd name="connsiteY2" fmla="*/ 774176 h 774176"/>
                  <a:gd name="connsiteX3" fmla="*/ 0 w 1388063"/>
                  <a:gd name="connsiteY3" fmla="*/ 771964 h 774176"/>
                  <a:gd name="connsiteX4" fmla="*/ 369749 w 1388063"/>
                  <a:gd name="connsiteY4" fmla="*/ 0 h 774176"/>
                  <a:gd name="connsiteX0" fmla="*/ 236254 w 1388063"/>
                  <a:gd name="connsiteY0" fmla="*/ 0 h 774176"/>
                  <a:gd name="connsiteX1" fmla="*/ 1387888 w 1388063"/>
                  <a:gd name="connsiteY1" fmla="*/ 0 h 774176"/>
                  <a:gd name="connsiteX2" fmla="*/ 1388063 w 1388063"/>
                  <a:gd name="connsiteY2" fmla="*/ 774176 h 774176"/>
                  <a:gd name="connsiteX3" fmla="*/ 0 w 1388063"/>
                  <a:gd name="connsiteY3" fmla="*/ 771964 h 774176"/>
                  <a:gd name="connsiteX4" fmla="*/ 236254 w 1388063"/>
                  <a:gd name="connsiteY4" fmla="*/ 0 h 774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8063" h="774176">
                    <a:moveTo>
                      <a:pt x="236254" y="0"/>
                    </a:moveTo>
                    <a:lnTo>
                      <a:pt x="1387888" y="0"/>
                    </a:lnTo>
                    <a:cubicBezTo>
                      <a:pt x="1387946" y="258059"/>
                      <a:pt x="1388005" y="516117"/>
                      <a:pt x="1388063" y="774176"/>
                    </a:cubicBezTo>
                    <a:lnTo>
                      <a:pt x="0" y="771964"/>
                    </a:lnTo>
                    <a:lnTo>
                      <a:pt x="236254" y="0"/>
                    </a:lnTo>
                    <a:close/>
                  </a:path>
                </a:pathLst>
              </a:custGeom>
              <a:solidFill>
                <a:srgbClr val="596F8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prstClr val="white"/>
                  </a:solidFill>
                  <a:latin typeface="Gill Sans" panose="020B0604020202020204"/>
                </a:endParaRPr>
              </a:p>
            </p:txBody>
          </p:sp>
          <p:sp>
            <p:nvSpPr>
              <p:cNvPr id="88" name="Rectangle 87"/>
              <p:cNvSpPr/>
              <p:nvPr/>
            </p:nvSpPr>
            <p:spPr>
              <a:xfrm rot="16200000" flipV="1">
                <a:off x="1457893" y="3149676"/>
                <a:ext cx="1124549" cy="1976580"/>
              </a:xfrm>
              <a:prstGeom prst="rect">
                <a:avLst/>
              </a:prstGeom>
              <a:solidFill>
                <a:srgbClr val="637C9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prstClr val="white"/>
                  </a:solidFill>
                  <a:latin typeface="Gill Sans" panose="020B0604020202020204"/>
                </a:endParaRPr>
              </a:p>
            </p:txBody>
          </p:sp>
          <p:sp>
            <p:nvSpPr>
              <p:cNvPr id="89" name="Oval 88"/>
              <p:cNvSpPr/>
              <p:nvPr/>
            </p:nvSpPr>
            <p:spPr>
              <a:xfrm>
                <a:off x="476297" y="3577377"/>
                <a:ext cx="1122704" cy="1122704"/>
              </a:xfrm>
              <a:prstGeom prst="ellipse">
                <a:avLst/>
              </a:prstGeom>
              <a:solidFill>
                <a:srgbClr val="637C9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prstClr val="white"/>
                  </a:solidFill>
                  <a:latin typeface="Gill Sans" panose="020B0604020202020204"/>
                </a:endParaRPr>
              </a:p>
            </p:txBody>
          </p:sp>
        </p:grpSp>
      </p:grpSp>
      <p:grpSp>
        <p:nvGrpSpPr>
          <p:cNvPr id="5" name="Group 4"/>
          <p:cNvGrpSpPr/>
          <p:nvPr/>
        </p:nvGrpSpPr>
        <p:grpSpPr>
          <a:xfrm>
            <a:off x="448777" y="1581790"/>
            <a:ext cx="7473995" cy="981514"/>
            <a:chOff x="598367" y="1620395"/>
            <a:chExt cx="9965327" cy="1308685"/>
          </a:xfrm>
        </p:grpSpPr>
        <p:sp>
          <p:nvSpPr>
            <p:cNvPr id="6" name="Pentagon 5"/>
            <p:cNvSpPr/>
            <p:nvPr/>
          </p:nvSpPr>
          <p:spPr>
            <a:xfrm>
              <a:off x="3948144" y="1986303"/>
              <a:ext cx="6615550" cy="940875"/>
            </a:xfrm>
            <a:prstGeom prst="homePlate">
              <a:avLst>
                <a:gd name="adj" fmla="val 29123"/>
              </a:avLst>
            </a:prstGeom>
            <a:solidFill>
              <a:srgbClr val="0564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  <a:latin typeface="Gill Sans" panose="020B0604020202020204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 rot="5400000">
              <a:off x="1584320" y="1192424"/>
              <a:ext cx="1115835" cy="1976580"/>
            </a:xfrm>
            <a:prstGeom prst="rect">
              <a:avLst/>
            </a:prstGeom>
            <a:solidFill>
              <a:srgbClr val="0564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  <a:latin typeface="Gill Sans" panose="020B0604020202020204"/>
              </a:endParaRPr>
            </a:p>
          </p:txBody>
        </p:sp>
        <p:sp>
          <p:nvSpPr>
            <p:cNvPr id="76" name="Rectangle 12"/>
            <p:cNvSpPr/>
            <p:nvPr/>
          </p:nvSpPr>
          <p:spPr>
            <a:xfrm rot="5400000">
              <a:off x="2885097" y="1863444"/>
              <a:ext cx="1308685" cy="822587"/>
            </a:xfrm>
            <a:custGeom>
              <a:avLst/>
              <a:gdLst>
                <a:gd name="connsiteX0" fmla="*/ 0 w 1016000"/>
                <a:gd name="connsiteY0" fmla="*/ 0 h 768404"/>
                <a:gd name="connsiteX1" fmla="*/ 1016000 w 1016000"/>
                <a:gd name="connsiteY1" fmla="*/ 0 h 768404"/>
                <a:gd name="connsiteX2" fmla="*/ 1016000 w 1016000"/>
                <a:gd name="connsiteY2" fmla="*/ 768404 h 768404"/>
                <a:gd name="connsiteX3" fmla="*/ 0 w 1016000"/>
                <a:gd name="connsiteY3" fmla="*/ 768404 h 768404"/>
                <a:gd name="connsiteX4" fmla="*/ 0 w 1016000"/>
                <a:gd name="connsiteY4" fmla="*/ 0 h 768404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745673 w 1745673"/>
                <a:gd name="connsiteY2" fmla="*/ 768404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317048 w 1745673"/>
                <a:gd name="connsiteY2" fmla="*/ 770785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0148 w 1736148"/>
                <a:gd name="connsiteY0" fmla="*/ 0 h 770785"/>
                <a:gd name="connsiteX1" fmla="*/ 1736148 w 1736148"/>
                <a:gd name="connsiteY1" fmla="*/ 0 h 770785"/>
                <a:gd name="connsiteX2" fmla="*/ 1307523 w 1736148"/>
                <a:gd name="connsiteY2" fmla="*/ 770785 h 770785"/>
                <a:gd name="connsiteX3" fmla="*/ 0 w 1736148"/>
                <a:gd name="connsiteY3" fmla="*/ 770497 h 770785"/>
                <a:gd name="connsiteX4" fmla="*/ 720148 w 1736148"/>
                <a:gd name="connsiteY4" fmla="*/ 0 h 770785"/>
                <a:gd name="connsiteX0" fmla="*/ 720148 w 1736148"/>
                <a:gd name="connsiteY0" fmla="*/ 0 h 770785"/>
                <a:gd name="connsiteX1" fmla="*/ 1736148 w 1736148"/>
                <a:gd name="connsiteY1" fmla="*/ 0 h 770785"/>
                <a:gd name="connsiteX2" fmla="*/ 1369545 w 1736148"/>
                <a:gd name="connsiteY2" fmla="*/ 770785 h 770785"/>
                <a:gd name="connsiteX3" fmla="*/ 0 w 1736148"/>
                <a:gd name="connsiteY3" fmla="*/ 770497 h 770785"/>
                <a:gd name="connsiteX4" fmla="*/ 720148 w 1736148"/>
                <a:gd name="connsiteY4" fmla="*/ 0 h 770785"/>
                <a:gd name="connsiteX0" fmla="*/ 446799 w 1736148"/>
                <a:gd name="connsiteY0" fmla="*/ 0 h 773231"/>
                <a:gd name="connsiteX1" fmla="*/ 1736148 w 1736148"/>
                <a:gd name="connsiteY1" fmla="*/ 2446 h 773231"/>
                <a:gd name="connsiteX2" fmla="*/ 1369545 w 1736148"/>
                <a:gd name="connsiteY2" fmla="*/ 773231 h 773231"/>
                <a:gd name="connsiteX3" fmla="*/ 0 w 1736148"/>
                <a:gd name="connsiteY3" fmla="*/ 772943 h 773231"/>
                <a:gd name="connsiteX4" fmla="*/ 446799 w 1736148"/>
                <a:gd name="connsiteY4" fmla="*/ 0 h 773231"/>
                <a:gd name="connsiteX0" fmla="*/ 446799 w 1605827"/>
                <a:gd name="connsiteY0" fmla="*/ 0 h 773231"/>
                <a:gd name="connsiteX1" fmla="*/ 1605827 w 1605827"/>
                <a:gd name="connsiteY1" fmla="*/ 2446 h 773231"/>
                <a:gd name="connsiteX2" fmla="*/ 1369545 w 1605827"/>
                <a:gd name="connsiteY2" fmla="*/ 773231 h 773231"/>
                <a:gd name="connsiteX3" fmla="*/ 0 w 1605827"/>
                <a:gd name="connsiteY3" fmla="*/ 772943 h 773231"/>
                <a:gd name="connsiteX4" fmla="*/ 446799 w 1605827"/>
                <a:gd name="connsiteY4" fmla="*/ 0 h 77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5827" h="773231">
                  <a:moveTo>
                    <a:pt x="446799" y="0"/>
                  </a:moveTo>
                  <a:lnTo>
                    <a:pt x="1605827" y="2446"/>
                  </a:lnTo>
                  <a:lnTo>
                    <a:pt x="1369545" y="773231"/>
                  </a:lnTo>
                  <a:lnTo>
                    <a:pt x="0" y="772943"/>
                  </a:lnTo>
                  <a:lnTo>
                    <a:pt x="446799" y="0"/>
                  </a:lnTo>
                  <a:close/>
                </a:path>
              </a:pathLst>
            </a:custGeom>
            <a:solidFill>
              <a:srgbClr val="045A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  <a:latin typeface="Gill Sans" panose="020B0604020202020204"/>
              </a:endParaRPr>
            </a:p>
          </p:txBody>
        </p:sp>
        <p:sp>
          <p:nvSpPr>
            <p:cNvPr id="77" name="Oval 76"/>
            <p:cNvSpPr/>
            <p:nvPr/>
          </p:nvSpPr>
          <p:spPr>
            <a:xfrm>
              <a:off x="598367" y="1629320"/>
              <a:ext cx="1107494" cy="1107494"/>
            </a:xfrm>
            <a:prstGeom prst="ellipse">
              <a:avLst/>
            </a:prstGeom>
            <a:solidFill>
              <a:srgbClr val="0564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  <a:latin typeface="Gill Sans" panose="020B0604020202020204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48777" y="2415653"/>
            <a:ext cx="8386568" cy="848412"/>
            <a:chOff x="598367" y="2732213"/>
            <a:chExt cx="10995267" cy="1131216"/>
          </a:xfrm>
        </p:grpSpPr>
        <p:sp>
          <p:nvSpPr>
            <p:cNvPr id="108" name="Pentagon 107"/>
            <p:cNvSpPr/>
            <p:nvPr/>
          </p:nvSpPr>
          <p:spPr>
            <a:xfrm>
              <a:off x="3948144" y="2914626"/>
              <a:ext cx="7645490" cy="940875"/>
            </a:xfrm>
            <a:prstGeom prst="homePlate">
              <a:avLst>
                <a:gd name="adj" fmla="val 29123"/>
              </a:avLst>
            </a:prstGeom>
            <a:solidFill>
              <a:srgbClr val="495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  <a:latin typeface="Gill Sans" panose="020B0604020202020204"/>
              </a:endParaRPr>
            </a:p>
          </p:txBody>
        </p:sp>
        <p:sp>
          <p:nvSpPr>
            <p:cNvPr id="81" name="Rectangle 12"/>
            <p:cNvSpPr/>
            <p:nvPr/>
          </p:nvSpPr>
          <p:spPr>
            <a:xfrm rot="5400000">
              <a:off x="2972538" y="2887823"/>
              <a:ext cx="1131216" cy="819995"/>
            </a:xfrm>
            <a:custGeom>
              <a:avLst/>
              <a:gdLst>
                <a:gd name="connsiteX0" fmla="*/ 0 w 1016000"/>
                <a:gd name="connsiteY0" fmla="*/ 0 h 768404"/>
                <a:gd name="connsiteX1" fmla="*/ 1016000 w 1016000"/>
                <a:gd name="connsiteY1" fmla="*/ 0 h 768404"/>
                <a:gd name="connsiteX2" fmla="*/ 1016000 w 1016000"/>
                <a:gd name="connsiteY2" fmla="*/ 768404 h 768404"/>
                <a:gd name="connsiteX3" fmla="*/ 0 w 1016000"/>
                <a:gd name="connsiteY3" fmla="*/ 768404 h 768404"/>
                <a:gd name="connsiteX4" fmla="*/ 0 w 1016000"/>
                <a:gd name="connsiteY4" fmla="*/ 0 h 768404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745673 w 1745673"/>
                <a:gd name="connsiteY2" fmla="*/ 768404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9673 w 1745673"/>
                <a:gd name="connsiteY0" fmla="*/ 0 h 777641"/>
                <a:gd name="connsiteX1" fmla="*/ 1745673 w 1745673"/>
                <a:gd name="connsiteY1" fmla="*/ 0 h 777641"/>
                <a:gd name="connsiteX2" fmla="*/ 1317048 w 1745673"/>
                <a:gd name="connsiteY2" fmla="*/ 770785 h 777641"/>
                <a:gd name="connsiteX3" fmla="*/ 0 w 1745673"/>
                <a:gd name="connsiteY3" fmla="*/ 777641 h 777641"/>
                <a:gd name="connsiteX4" fmla="*/ 729673 w 1745673"/>
                <a:gd name="connsiteY4" fmla="*/ 0 h 777641"/>
                <a:gd name="connsiteX0" fmla="*/ 720148 w 1736148"/>
                <a:gd name="connsiteY0" fmla="*/ 0 h 770785"/>
                <a:gd name="connsiteX1" fmla="*/ 1736148 w 1736148"/>
                <a:gd name="connsiteY1" fmla="*/ 0 h 770785"/>
                <a:gd name="connsiteX2" fmla="*/ 1307523 w 1736148"/>
                <a:gd name="connsiteY2" fmla="*/ 770785 h 770785"/>
                <a:gd name="connsiteX3" fmla="*/ 0 w 1736148"/>
                <a:gd name="connsiteY3" fmla="*/ 770497 h 770785"/>
                <a:gd name="connsiteX4" fmla="*/ 720148 w 1736148"/>
                <a:gd name="connsiteY4" fmla="*/ 0 h 770785"/>
                <a:gd name="connsiteX0" fmla="*/ 720148 w 1736148"/>
                <a:gd name="connsiteY0" fmla="*/ 0 h 770497"/>
                <a:gd name="connsiteX1" fmla="*/ 1736148 w 1736148"/>
                <a:gd name="connsiteY1" fmla="*/ 0 h 770497"/>
                <a:gd name="connsiteX2" fmla="*/ 1590892 w 1736148"/>
                <a:gd name="connsiteY2" fmla="*/ 768404 h 770497"/>
                <a:gd name="connsiteX3" fmla="*/ 0 w 1736148"/>
                <a:gd name="connsiteY3" fmla="*/ 770497 h 770497"/>
                <a:gd name="connsiteX4" fmla="*/ 720148 w 1736148"/>
                <a:gd name="connsiteY4" fmla="*/ 0 h 770497"/>
                <a:gd name="connsiteX0" fmla="*/ 429636 w 1445636"/>
                <a:gd name="connsiteY0" fmla="*/ 0 h 768404"/>
                <a:gd name="connsiteX1" fmla="*/ 1445636 w 1445636"/>
                <a:gd name="connsiteY1" fmla="*/ 0 h 768404"/>
                <a:gd name="connsiteX2" fmla="*/ 1300380 w 1445636"/>
                <a:gd name="connsiteY2" fmla="*/ 768404 h 768404"/>
                <a:gd name="connsiteX3" fmla="*/ 0 w 1445636"/>
                <a:gd name="connsiteY3" fmla="*/ 768116 h 768404"/>
                <a:gd name="connsiteX4" fmla="*/ 429636 w 1445636"/>
                <a:gd name="connsiteY4" fmla="*/ 0 h 768404"/>
                <a:gd name="connsiteX0" fmla="*/ 433913 w 1449913"/>
                <a:gd name="connsiteY0" fmla="*/ 0 h 771964"/>
                <a:gd name="connsiteX1" fmla="*/ 1449913 w 1449913"/>
                <a:gd name="connsiteY1" fmla="*/ 0 h 771964"/>
                <a:gd name="connsiteX2" fmla="*/ 1304657 w 1449913"/>
                <a:gd name="connsiteY2" fmla="*/ 768404 h 771964"/>
                <a:gd name="connsiteX3" fmla="*/ 0 w 1449913"/>
                <a:gd name="connsiteY3" fmla="*/ 771964 h 771964"/>
                <a:gd name="connsiteX4" fmla="*/ 433913 w 1449913"/>
                <a:gd name="connsiteY4" fmla="*/ 0 h 771964"/>
                <a:gd name="connsiteX0" fmla="*/ 433913 w 1449913"/>
                <a:gd name="connsiteY0" fmla="*/ 0 h 774176"/>
                <a:gd name="connsiteX1" fmla="*/ 1449913 w 1449913"/>
                <a:gd name="connsiteY1" fmla="*/ 0 h 774176"/>
                <a:gd name="connsiteX2" fmla="*/ 1306795 w 1449913"/>
                <a:gd name="connsiteY2" fmla="*/ 774176 h 774176"/>
                <a:gd name="connsiteX3" fmla="*/ 0 w 1449913"/>
                <a:gd name="connsiteY3" fmla="*/ 771964 h 774176"/>
                <a:gd name="connsiteX4" fmla="*/ 433913 w 1449913"/>
                <a:gd name="connsiteY4" fmla="*/ 0 h 774176"/>
                <a:gd name="connsiteX0" fmla="*/ 429635 w 1445635"/>
                <a:gd name="connsiteY0" fmla="*/ 0 h 777737"/>
                <a:gd name="connsiteX1" fmla="*/ 1445635 w 1445635"/>
                <a:gd name="connsiteY1" fmla="*/ 0 h 777737"/>
                <a:gd name="connsiteX2" fmla="*/ 1302517 w 1445635"/>
                <a:gd name="connsiteY2" fmla="*/ 774176 h 777737"/>
                <a:gd name="connsiteX3" fmla="*/ 0 w 1445635"/>
                <a:gd name="connsiteY3" fmla="*/ 777737 h 777737"/>
                <a:gd name="connsiteX4" fmla="*/ 429635 w 1445635"/>
                <a:gd name="connsiteY4" fmla="*/ 0 h 777737"/>
                <a:gd name="connsiteX0" fmla="*/ 431773 w 1447773"/>
                <a:gd name="connsiteY0" fmla="*/ 0 h 774176"/>
                <a:gd name="connsiteX1" fmla="*/ 1447773 w 1447773"/>
                <a:gd name="connsiteY1" fmla="*/ 0 h 774176"/>
                <a:gd name="connsiteX2" fmla="*/ 1304655 w 1447773"/>
                <a:gd name="connsiteY2" fmla="*/ 774176 h 774176"/>
                <a:gd name="connsiteX3" fmla="*/ 0 w 1447773"/>
                <a:gd name="connsiteY3" fmla="*/ 773889 h 774176"/>
                <a:gd name="connsiteX4" fmla="*/ 431773 w 1447773"/>
                <a:gd name="connsiteY4" fmla="*/ 0 h 774176"/>
                <a:gd name="connsiteX0" fmla="*/ 429634 w 1447773"/>
                <a:gd name="connsiteY0" fmla="*/ 0 h 774176"/>
                <a:gd name="connsiteX1" fmla="*/ 1447773 w 1447773"/>
                <a:gd name="connsiteY1" fmla="*/ 0 h 774176"/>
                <a:gd name="connsiteX2" fmla="*/ 1304655 w 1447773"/>
                <a:gd name="connsiteY2" fmla="*/ 774176 h 774176"/>
                <a:gd name="connsiteX3" fmla="*/ 0 w 1447773"/>
                <a:gd name="connsiteY3" fmla="*/ 773889 h 774176"/>
                <a:gd name="connsiteX4" fmla="*/ 429634 w 1447773"/>
                <a:gd name="connsiteY4" fmla="*/ 0 h 774176"/>
                <a:gd name="connsiteX0" fmla="*/ 436049 w 1454188"/>
                <a:gd name="connsiteY0" fmla="*/ 0 h 774176"/>
                <a:gd name="connsiteX1" fmla="*/ 1454188 w 1454188"/>
                <a:gd name="connsiteY1" fmla="*/ 0 h 774176"/>
                <a:gd name="connsiteX2" fmla="*/ 1311070 w 1454188"/>
                <a:gd name="connsiteY2" fmla="*/ 774176 h 774176"/>
                <a:gd name="connsiteX3" fmla="*/ 0 w 1454188"/>
                <a:gd name="connsiteY3" fmla="*/ 773889 h 774176"/>
                <a:gd name="connsiteX4" fmla="*/ 436049 w 1454188"/>
                <a:gd name="connsiteY4" fmla="*/ 0 h 774176"/>
                <a:gd name="connsiteX0" fmla="*/ 436049 w 1458640"/>
                <a:gd name="connsiteY0" fmla="*/ 0 h 774176"/>
                <a:gd name="connsiteX1" fmla="*/ 1454188 w 1458640"/>
                <a:gd name="connsiteY1" fmla="*/ 0 h 774176"/>
                <a:gd name="connsiteX2" fmla="*/ 1458640 w 1458640"/>
                <a:gd name="connsiteY2" fmla="*/ 774176 h 774176"/>
                <a:gd name="connsiteX3" fmla="*/ 0 w 1458640"/>
                <a:gd name="connsiteY3" fmla="*/ 773889 h 774176"/>
                <a:gd name="connsiteX4" fmla="*/ 436049 w 1458640"/>
                <a:gd name="connsiteY4" fmla="*/ 0 h 774176"/>
                <a:gd name="connsiteX0" fmla="*/ 436049 w 1454363"/>
                <a:gd name="connsiteY0" fmla="*/ 0 h 774176"/>
                <a:gd name="connsiteX1" fmla="*/ 1454188 w 1454363"/>
                <a:gd name="connsiteY1" fmla="*/ 0 h 774176"/>
                <a:gd name="connsiteX2" fmla="*/ 1454363 w 1454363"/>
                <a:gd name="connsiteY2" fmla="*/ 774176 h 774176"/>
                <a:gd name="connsiteX3" fmla="*/ 0 w 1454363"/>
                <a:gd name="connsiteY3" fmla="*/ 773889 h 774176"/>
                <a:gd name="connsiteX4" fmla="*/ 436049 w 1454363"/>
                <a:gd name="connsiteY4" fmla="*/ 0 h 774176"/>
                <a:gd name="connsiteX0" fmla="*/ 369749 w 1388063"/>
                <a:gd name="connsiteY0" fmla="*/ 0 h 774176"/>
                <a:gd name="connsiteX1" fmla="*/ 1387888 w 1388063"/>
                <a:gd name="connsiteY1" fmla="*/ 0 h 774176"/>
                <a:gd name="connsiteX2" fmla="*/ 1388063 w 1388063"/>
                <a:gd name="connsiteY2" fmla="*/ 774176 h 774176"/>
                <a:gd name="connsiteX3" fmla="*/ 0 w 1388063"/>
                <a:gd name="connsiteY3" fmla="*/ 771964 h 774176"/>
                <a:gd name="connsiteX4" fmla="*/ 369749 w 1388063"/>
                <a:gd name="connsiteY4" fmla="*/ 0 h 774176"/>
                <a:gd name="connsiteX0" fmla="*/ 236254 w 1388063"/>
                <a:gd name="connsiteY0" fmla="*/ 0 h 774176"/>
                <a:gd name="connsiteX1" fmla="*/ 1387888 w 1388063"/>
                <a:gd name="connsiteY1" fmla="*/ 0 h 774176"/>
                <a:gd name="connsiteX2" fmla="*/ 1388063 w 1388063"/>
                <a:gd name="connsiteY2" fmla="*/ 774176 h 774176"/>
                <a:gd name="connsiteX3" fmla="*/ 0 w 1388063"/>
                <a:gd name="connsiteY3" fmla="*/ 771964 h 774176"/>
                <a:gd name="connsiteX4" fmla="*/ 236254 w 1388063"/>
                <a:gd name="connsiteY4" fmla="*/ 0 h 77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8063" h="774176">
                  <a:moveTo>
                    <a:pt x="236254" y="0"/>
                  </a:moveTo>
                  <a:lnTo>
                    <a:pt x="1387888" y="0"/>
                  </a:lnTo>
                  <a:cubicBezTo>
                    <a:pt x="1387946" y="258059"/>
                    <a:pt x="1388005" y="516117"/>
                    <a:pt x="1388063" y="774176"/>
                  </a:cubicBezTo>
                  <a:lnTo>
                    <a:pt x="0" y="771964"/>
                  </a:lnTo>
                  <a:lnTo>
                    <a:pt x="236254" y="0"/>
                  </a:lnTo>
                  <a:close/>
                </a:path>
              </a:pathLst>
            </a:custGeom>
            <a:solidFill>
              <a:srgbClr val="4457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  <a:latin typeface="Gill Sans" panose="020B0604020202020204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 rot="5400000">
              <a:off x="1579963" y="2312721"/>
              <a:ext cx="1124549" cy="1976580"/>
            </a:xfrm>
            <a:prstGeom prst="rect">
              <a:avLst/>
            </a:prstGeom>
            <a:solidFill>
              <a:srgbClr val="495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  <a:latin typeface="Gill Sans" panose="020B0604020202020204"/>
              </a:endParaRPr>
            </a:p>
          </p:txBody>
        </p:sp>
        <p:sp>
          <p:nvSpPr>
            <p:cNvPr id="83" name="Oval 82"/>
            <p:cNvSpPr/>
            <p:nvPr/>
          </p:nvSpPr>
          <p:spPr>
            <a:xfrm>
              <a:off x="598367" y="2738593"/>
              <a:ext cx="1122704" cy="1122704"/>
            </a:xfrm>
            <a:prstGeom prst="ellipse">
              <a:avLst/>
            </a:prstGeom>
            <a:solidFill>
              <a:srgbClr val="495D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  <a:latin typeface="Gill Sans" panose="020B0604020202020204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48776" y="3963228"/>
            <a:ext cx="6925972" cy="981514"/>
            <a:chOff x="598366" y="4795646"/>
            <a:chExt cx="9080343" cy="1308685"/>
          </a:xfrm>
        </p:grpSpPr>
        <p:sp>
          <p:nvSpPr>
            <p:cNvPr id="110" name="Pentagon 109"/>
            <p:cNvSpPr/>
            <p:nvPr/>
          </p:nvSpPr>
          <p:spPr>
            <a:xfrm>
              <a:off x="3948144" y="4800793"/>
              <a:ext cx="5730565" cy="940875"/>
            </a:xfrm>
            <a:prstGeom prst="homePlate">
              <a:avLst>
                <a:gd name="adj" fmla="val 29123"/>
              </a:avLst>
            </a:prstGeom>
            <a:solidFill>
              <a:srgbClr val="99AE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white"/>
                </a:solidFill>
                <a:latin typeface="Gill Sans" panose="020B0604020202020204"/>
              </a:endParaRPr>
            </a:p>
          </p:txBody>
        </p:sp>
        <p:grpSp>
          <p:nvGrpSpPr>
            <p:cNvPr id="90" name="Group 89"/>
            <p:cNvGrpSpPr/>
            <p:nvPr/>
          </p:nvGrpSpPr>
          <p:grpSpPr>
            <a:xfrm>
              <a:off x="598366" y="4795646"/>
              <a:ext cx="3352367" cy="1308685"/>
              <a:chOff x="476296" y="4509897"/>
              <a:chExt cx="3352367" cy="1308685"/>
            </a:xfrm>
          </p:grpSpPr>
          <p:sp>
            <p:nvSpPr>
              <p:cNvPr id="93" name="Rectangle 92"/>
              <p:cNvSpPr/>
              <p:nvPr/>
            </p:nvSpPr>
            <p:spPr>
              <a:xfrm rot="16200000" flipV="1">
                <a:off x="1462250" y="4269973"/>
                <a:ext cx="1115835" cy="1976580"/>
              </a:xfrm>
              <a:prstGeom prst="rect">
                <a:avLst/>
              </a:prstGeom>
              <a:solidFill>
                <a:srgbClr val="99AEB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prstClr val="white"/>
                  </a:solidFill>
                  <a:latin typeface="Gill Sans" panose="020B0604020202020204"/>
                </a:endParaRPr>
              </a:p>
            </p:txBody>
          </p:sp>
          <p:sp>
            <p:nvSpPr>
              <p:cNvPr id="94" name="Rectangle 12"/>
              <p:cNvSpPr/>
              <p:nvPr/>
            </p:nvSpPr>
            <p:spPr>
              <a:xfrm rot="16200000" flipV="1">
                <a:off x="2763027" y="4752946"/>
                <a:ext cx="1308685" cy="822587"/>
              </a:xfrm>
              <a:custGeom>
                <a:avLst/>
                <a:gdLst>
                  <a:gd name="connsiteX0" fmla="*/ 0 w 1016000"/>
                  <a:gd name="connsiteY0" fmla="*/ 0 h 768404"/>
                  <a:gd name="connsiteX1" fmla="*/ 1016000 w 1016000"/>
                  <a:gd name="connsiteY1" fmla="*/ 0 h 768404"/>
                  <a:gd name="connsiteX2" fmla="*/ 1016000 w 1016000"/>
                  <a:gd name="connsiteY2" fmla="*/ 768404 h 768404"/>
                  <a:gd name="connsiteX3" fmla="*/ 0 w 1016000"/>
                  <a:gd name="connsiteY3" fmla="*/ 768404 h 768404"/>
                  <a:gd name="connsiteX4" fmla="*/ 0 w 1016000"/>
                  <a:gd name="connsiteY4" fmla="*/ 0 h 768404"/>
                  <a:gd name="connsiteX0" fmla="*/ 729673 w 1745673"/>
                  <a:gd name="connsiteY0" fmla="*/ 0 h 777641"/>
                  <a:gd name="connsiteX1" fmla="*/ 1745673 w 1745673"/>
                  <a:gd name="connsiteY1" fmla="*/ 0 h 777641"/>
                  <a:gd name="connsiteX2" fmla="*/ 1745673 w 1745673"/>
                  <a:gd name="connsiteY2" fmla="*/ 768404 h 777641"/>
                  <a:gd name="connsiteX3" fmla="*/ 0 w 1745673"/>
                  <a:gd name="connsiteY3" fmla="*/ 777641 h 777641"/>
                  <a:gd name="connsiteX4" fmla="*/ 729673 w 1745673"/>
                  <a:gd name="connsiteY4" fmla="*/ 0 h 777641"/>
                  <a:gd name="connsiteX0" fmla="*/ 729673 w 1745673"/>
                  <a:gd name="connsiteY0" fmla="*/ 0 h 777641"/>
                  <a:gd name="connsiteX1" fmla="*/ 1745673 w 1745673"/>
                  <a:gd name="connsiteY1" fmla="*/ 0 h 777641"/>
                  <a:gd name="connsiteX2" fmla="*/ 1317048 w 1745673"/>
                  <a:gd name="connsiteY2" fmla="*/ 770785 h 777641"/>
                  <a:gd name="connsiteX3" fmla="*/ 0 w 1745673"/>
                  <a:gd name="connsiteY3" fmla="*/ 777641 h 777641"/>
                  <a:gd name="connsiteX4" fmla="*/ 729673 w 1745673"/>
                  <a:gd name="connsiteY4" fmla="*/ 0 h 777641"/>
                  <a:gd name="connsiteX0" fmla="*/ 720148 w 1736148"/>
                  <a:gd name="connsiteY0" fmla="*/ 0 h 770785"/>
                  <a:gd name="connsiteX1" fmla="*/ 1736148 w 1736148"/>
                  <a:gd name="connsiteY1" fmla="*/ 0 h 770785"/>
                  <a:gd name="connsiteX2" fmla="*/ 1307523 w 1736148"/>
                  <a:gd name="connsiteY2" fmla="*/ 770785 h 770785"/>
                  <a:gd name="connsiteX3" fmla="*/ 0 w 1736148"/>
                  <a:gd name="connsiteY3" fmla="*/ 770497 h 770785"/>
                  <a:gd name="connsiteX4" fmla="*/ 720148 w 1736148"/>
                  <a:gd name="connsiteY4" fmla="*/ 0 h 770785"/>
                  <a:gd name="connsiteX0" fmla="*/ 720148 w 1736148"/>
                  <a:gd name="connsiteY0" fmla="*/ 0 h 770785"/>
                  <a:gd name="connsiteX1" fmla="*/ 1736148 w 1736148"/>
                  <a:gd name="connsiteY1" fmla="*/ 0 h 770785"/>
                  <a:gd name="connsiteX2" fmla="*/ 1369545 w 1736148"/>
                  <a:gd name="connsiteY2" fmla="*/ 770785 h 770785"/>
                  <a:gd name="connsiteX3" fmla="*/ 0 w 1736148"/>
                  <a:gd name="connsiteY3" fmla="*/ 770497 h 770785"/>
                  <a:gd name="connsiteX4" fmla="*/ 720148 w 1736148"/>
                  <a:gd name="connsiteY4" fmla="*/ 0 h 770785"/>
                  <a:gd name="connsiteX0" fmla="*/ 446799 w 1736148"/>
                  <a:gd name="connsiteY0" fmla="*/ 0 h 773231"/>
                  <a:gd name="connsiteX1" fmla="*/ 1736148 w 1736148"/>
                  <a:gd name="connsiteY1" fmla="*/ 2446 h 773231"/>
                  <a:gd name="connsiteX2" fmla="*/ 1369545 w 1736148"/>
                  <a:gd name="connsiteY2" fmla="*/ 773231 h 773231"/>
                  <a:gd name="connsiteX3" fmla="*/ 0 w 1736148"/>
                  <a:gd name="connsiteY3" fmla="*/ 772943 h 773231"/>
                  <a:gd name="connsiteX4" fmla="*/ 446799 w 1736148"/>
                  <a:gd name="connsiteY4" fmla="*/ 0 h 773231"/>
                  <a:gd name="connsiteX0" fmla="*/ 446799 w 1605827"/>
                  <a:gd name="connsiteY0" fmla="*/ 0 h 773231"/>
                  <a:gd name="connsiteX1" fmla="*/ 1605827 w 1605827"/>
                  <a:gd name="connsiteY1" fmla="*/ 2446 h 773231"/>
                  <a:gd name="connsiteX2" fmla="*/ 1369545 w 1605827"/>
                  <a:gd name="connsiteY2" fmla="*/ 773231 h 773231"/>
                  <a:gd name="connsiteX3" fmla="*/ 0 w 1605827"/>
                  <a:gd name="connsiteY3" fmla="*/ 772943 h 773231"/>
                  <a:gd name="connsiteX4" fmla="*/ 446799 w 1605827"/>
                  <a:gd name="connsiteY4" fmla="*/ 0 h 77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5827" h="773231">
                    <a:moveTo>
                      <a:pt x="446799" y="0"/>
                    </a:moveTo>
                    <a:lnTo>
                      <a:pt x="1605827" y="2446"/>
                    </a:lnTo>
                    <a:lnTo>
                      <a:pt x="1369545" y="773231"/>
                    </a:lnTo>
                    <a:lnTo>
                      <a:pt x="0" y="772943"/>
                    </a:lnTo>
                    <a:lnTo>
                      <a:pt x="446799" y="0"/>
                    </a:lnTo>
                    <a:close/>
                  </a:path>
                </a:pathLst>
              </a:custGeom>
              <a:solidFill>
                <a:srgbClr val="8DA4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solidFill>
                    <a:prstClr val="white"/>
                  </a:solidFill>
                  <a:latin typeface="Gill Sans" panose="020B0604020202020204"/>
                </a:endParaRPr>
              </a:p>
            </p:txBody>
          </p:sp>
          <p:sp>
            <p:nvSpPr>
              <p:cNvPr id="95" name="Oval 94"/>
              <p:cNvSpPr/>
              <p:nvPr/>
            </p:nvSpPr>
            <p:spPr>
              <a:xfrm>
                <a:off x="476296" y="4702451"/>
                <a:ext cx="1113729" cy="1113729"/>
              </a:xfrm>
              <a:prstGeom prst="ellipse">
                <a:avLst/>
              </a:prstGeom>
              <a:solidFill>
                <a:srgbClr val="99AEB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prstClr val="white"/>
                  </a:solidFill>
                  <a:latin typeface="Gill Sans" panose="020B0604020202020204"/>
                </a:endParaRPr>
              </a:p>
            </p:txBody>
          </p:sp>
        </p:grpSp>
      </p:grpSp>
      <p:sp>
        <p:nvSpPr>
          <p:cNvPr id="96" name="Oval 95"/>
          <p:cNvSpPr/>
          <p:nvPr/>
        </p:nvSpPr>
        <p:spPr>
          <a:xfrm>
            <a:off x="580908" y="1721168"/>
            <a:ext cx="577764" cy="5777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solidFill>
                  <a:srgbClr val="0564B8"/>
                </a:solidFill>
                <a:latin typeface="Gill Sans" panose="020B0604020202020204"/>
              </a:rPr>
              <a:t>1</a:t>
            </a:r>
          </a:p>
        </p:txBody>
      </p:sp>
      <p:sp>
        <p:nvSpPr>
          <p:cNvPr id="97" name="Oval 96"/>
          <p:cNvSpPr/>
          <p:nvPr/>
        </p:nvSpPr>
        <p:spPr>
          <a:xfrm>
            <a:off x="580908" y="2551103"/>
            <a:ext cx="577764" cy="5777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4000" dirty="0">
                <a:solidFill>
                  <a:srgbClr val="0564B8"/>
                </a:solidFill>
                <a:latin typeface="Gill Sans" panose="020B0604020202020204"/>
              </a:rPr>
              <a:t>2</a:t>
            </a:r>
            <a:endParaRPr lang="en-US" sz="4000" dirty="0">
              <a:solidFill>
                <a:srgbClr val="0564B8"/>
              </a:solidFill>
              <a:latin typeface="Gill Sans" panose="020B0604020202020204"/>
            </a:endParaRPr>
          </a:p>
        </p:txBody>
      </p:sp>
      <p:sp>
        <p:nvSpPr>
          <p:cNvPr id="98" name="Oval 97"/>
          <p:cNvSpPr/>
          <p:nvPr/>
        </p:nvSpPr>
        <p:spPr>
          <a:xfrm>
            <a:off x="580908" y="3402902"/>
            <a:ext cx="577764" cy="5777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4000" dirty="0">
                <a:solidFill>
                  <a:srgbClr val="0564B8"/>
                </a:solidFill>
                <a:latin typeface="Gill Sans" panose="020B0604020202020204"/>
              </a:rPr>
              <a:t>3</a:t>
            </a:r>
            <a:endParaRPr lang="en-US" sz="4000" dirty="0">
              <a:solidFill>
                <a:srgbClr val="0564B8"/>
              </a:solidFill>
              <a:latin typeface="Gill Sans" panose="020B0604020202020204"/>
            </a:endParaRPr>
          </a:p>
        </p:txBody>
      </p:sp>
      <p:sp>
        <p:nvSpPr>
          <p:cNvPr id="99" name="Oval 98"/>
          <p:cNvSpPr/>
          <p:nvPr/>
        </p:nvSpPr>
        <p:spPr>
          <a:xfrm>
            <a:off x="580908" y="4232837"/>
            <a:ext cx="577764" cy="5777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4000" dirty="0">
                <a:solidFill>
                  <a:srgbClr val="0564B8"/>
                </a:solidFill>
                <a:latin typeface="Gill Sans" panose="020B0604020202020204"/>
              </a:rPr>
              <a:t>4</a:t>
            </a:r>
            <a:endParaRPr lang="en-US" sz="4000" dirty="0">
              <a:solidFill>
                <a:srgbClr val="0564B8"/>
              </a:solidFill>
              <a:latin typeface="Gill Sans" panose="020B0604020202020204"/>
            </a:endParaRPr>
          </a:p>
        </p:txBody>
      </p:sp>
      <p:sp>
        <p:nvSpPr>
          <p:cNvPr id="100" name="Text Placeholder 33"/>
          <p:cNvSpPr txBox="1">
            <a:spLocks/>
          </p:cNvSpPr>
          <p:nvPr/>
        </p:nvSpPr>
        <p:spPr>
          <a:xfrm>
            <a:off x="1290298" y="1868975"/>
            <a:ext cx="1342153" cy="325547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AU" sz="1600" b="1" dirty="0">
                <a:solidFill>
                  <a:prstClr val="white"/>
                </a:solidFill>
                <a:latin typeface="Gill Sans" panose="020B0604020202020204"/>
              </a:rPr>
              <a:t>Constitution </a:t>
            </a:r>
            <a:endParaRPr lang="en-AU" sz="1200" b="1" dirty="0">
              <a:solidFill>
                <a:prstClr val="white"/>
              </a:solidFill>
              <a:latin typeface="Gill Sans" panose="020B0604020202020204"/>
            </a:endParaRPr>
          </a:p>
        </p:txBody>
      </p:sp>
      <p:sp>
        <p:nvSpPr>
          <p:cNvPr id="101" name="Text Placeholder 33"/>
          <p:cNvSpPr txBox="1">
            <a:spLocks/>
          </p:cNvSpPr>
          <p:nvPr/>
        </p:nvSpPr>
        <p:spPr>
          <a:xfrm>
            <a:off x="1290298" y="2705852"/>
            <a:ext cx="1167155" cy="325547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AU" sz="1600" b="1" dirty="0" smtClean="0">
                <a:solidFill>
                  <a:prstClr val="white"/>
                </a:solidFill>
                <a:latin typeface="Gill Sans" panose="020B0604020202020204"/>
              </a:rPr>
              <a:t>Tension</a:t>
            </a:r>
            <a:endParaRPr lang="en-AU" sz="1600" b="1" dirty="0">
              <a:solidFill>
                <a:prstClr val="white"/>
              </a:solidFill>
              <a:latin typeface="Gill Sans" panose="020B0604020202020204"/>
            </a:endParaRPr>
          </a:p>
        </p:txBody>
      </p:sp>
      <p:sp>
        <p:nvSpPr>
          <p:cNvPr id="102" name="Text Placeholder 33"/>
          <p:cNvSpPr txBox="1">
            <a:spLocks/>
          </p:cNvSpPr>
          <p:nvPr/>
        </p:nvSpPr>
        <p:spPr>
          <a:xfrm>
            <a:off x="1158671" y="3527059"/>
            <a:ext cx="1522497" cy="325547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AU" sz="1600" b="1" dirty="0">
              <a:solidFill>
                <a:prstClr val="white"/>
              </a:solidFill>
              <a:latin typeface="Gill Sans" panose="020B0604020202020204"/>
            </a:endParaRPr>
          </a:p>
        </p:txBody>
      </p:sp>
      <p:sp>
        <p:nvSpPr>
          <p:cNvPr id="103" name="Text Placeholder 33"/>
          <p:cNvSpPr txBox="1">
            <a:spLocks/>
          </p:cNvSpPr>
          <p:nvPr/>
        </p:nvSpPr>
        <p:spPr>
          <a:xfrm>
            <a:off x="1173445" y="4292252"/>
            <a:ext cx="1668133" cy="434393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AU" sz="1600" b="1" dirty="0" smtClean="0">
                <a:solidFill>
                  <a:prstClr val="white"/>
                </a:solidFill>
                <a:latin typeface="Gill Sans" panose="020B0604020202020204"/>
              </a:rPr>
              <a:t>Dissolution</a:t>
            </a: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AU" sz="1600" b="1" dirty="0">
              <a:solidFill>
                <a:prstClr val="white"/>
              </a:solidFill>
              <a:latin typeface="Gill Sans" panose="020B0604020202020204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AU" sz="1200" b="1" dirty="0">
              <a:solidFill>
                <a:prstClr val="white"/>
              </a:solidFill>
              <a:latin typeface="Gill Sans" panose="020B0604020202020204"/>
            </a:endParaRPr>
          </a:p>
        </p:txBody>
      </p:sp>
      <p:sp>
        <p:nvSpPr>
          <p:cNvPr id="104" name="Text Placeholder 32"/>
          <p:cNvSpPr txBox="1">
            <a:spLocks/>
          </p:cNvSpPr>
          <p:nvPr/>
        </p:nvSpPr>
        <p:spPr>
          <a:xfrm>
            <a:off x="4145848" y="2114938"/>
            <a:ext cx="2745305" cy="2908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prstClr val="white"/>
                </a:solidFill>
                <a:latin typeface="Gill Sans" panose="020B0604020202020204"/>
              </a:rPr>
              <a:t>Inclusion et d'exclusion</a:t>
            </a:r>
          </a:p>
        </p:txBody>
      </p:sp>
      <p:sp>
        <p:nvSpPr>
          <p:cNvPr id="105" name="Text Placeholder 32"/>
          <p:cNvSpPr txBox="1">
            <a:spLocks/>
          </p:cNvSpPr>
          <p:nvPr/>
        </p:nvSpPr>
        <p:spPr>
          <a:xfrm>
            <a:off x="4145848" y="2724714"/>
            <a:ext cx="3103807" cy="2992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dirty="0">
                <a:solidFill>
                  <a:prstClr val="white"/>
                </a:solidFill>
                <a:latin typeface="Gill Sans" panose="020B0604020202020204"/>
              </a:rPr>
              <a:t>Tension et les luttes de pouvoir </a:t>
            </a:r>
          </a:p>
        </p:txBody>
      </p:sp>
      <p:sp>
        <p:nvSpPr>
          <p:cNvPr id="106" name="Text Placeholder 32"/>
          <p:cNvSpPr txBox="1">
            <a:spLocks/>
          </p:cNvSpPr>
          <p:nvPr/>
        </p:nvSpPr>
        <p:spPr>
          <a:xfrm>
            <a:off x="4145848" y="3410216"/>
            <a:ext cx="2117930" cy="3056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white"/>
                </a:solidFill>
                <a:latin typeface="Gill Sans" panose="020B0604020202020204"/>
              </a:rPr>
              <a:t>Normes et règles</a:t>
            </a:r>
          </a:p>
        </p:txBody>
      </p:sp>
      <p:sp>
        <p:nvSpPr>
          <p:cNvPr id="107" name="Text Placeholder 32"/>
          <p:cNvSpPr txBox="1">
            <a:spLocks/>
          </p:cNvSpPr>
          <p:nvPr/>
        </p:nvSpPr>
        <p:spPr>
          <a:xfrm>
            <a:off x="4135718" y="4049221"/>
            <a:ext cx="4166630" cy="5722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prstClr val="white"/>
                </a:solidFill>
                <a:latin typeface="Gill Sans" panose="020B0604020202020204"/>
              </a:rPr>
              <a:t>Transition et commentaires</a:t>
            </a:r>
          </a:p>
          <a:p>
            <a:endParaRPr lang="en-US" sz="900" dirty="0">
              <a:solidFill>
                <a:prstClr val="white"/>
              </a:solidFill>
              <a:latin typeface="Gill Sans" panose="020B0604020202020204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9371C200-6205-45FE-A3A1-0E5FE87C4D6A}" type="slidenum">
              <a:rPr lang="fr-FR" sz="1200" smtClean="0">
                <a:latin typeface="Gill Sans" panose="020B0604020202020204"/>
              </a:rPr>
              <a:pPr algn="ctr"/>
              <a:t>5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93393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Espace réservé du texte 2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 smtClean="0">
                <a:solidFill>
                  <a:srgbClr val="C2113A"/>
                </a:solidFill>
                <a:latin typeface="Calibri" panose="020F0502020204030204" pitchFamily="34" charset="0"/>
                <a:ea typeface="Calibri" panose="020F0502020204030204" pitchFamily="34" charset="0"/>
                <a:cs typeface="Helvetica Neue" panose="02000806000000020004" pitchFamily="50"/>
              </a:rPr>
              <a:t>DISCUSSION DES QUESTIONS</a:t>
            </a:r>
            <a:endParaRPr lang="fr-FR" sz="1800" b="1" dirty="0">
              <a:solidFill>
                <a:srgbClr val="C2113A"/>
              </a:solidFill>
            </a:endParaRPr>
          </a:p>
        </p:txBody>
      </p:sp>
      <p:pic>
        <p:nvPicPr>
          <p:cNvPr id="38" name="Picture 3" descr="G:\ \z2-3\3\4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8452" y="836236"/>
            <a:ext cx="2097713" cy="463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G:\ \z2-3\3\40-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745" y="838031"/>
            <a:ext cx="769858" cy="2103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e 5"/>
          <p:cNvGrpSpPr/>
          <p:nvPr/>
        </p:nvGrpSpPr>
        <p:grpSpPr>
          <a:xfrm>
            <a:off x="4234305" y="1731594"/>
            <a:ext cx="4221436" cy="575734"/>
            <a:chOff x="4234305" y="1731594"/>
            <a:chExt cx="4221436" cy="575734"/>
          </a:xfrm>
        </p:grpSpPr>
        <p:sp>
          <p:nvSpPr>
            <p:cNvPr id="45" name="TextBox 17"/>
            <p:cNvSpPr txBox="1"/>
            <p:nvPr/>
          </p:nvSpPr>
          <p:spPr>
            <a:xfrm>
              <a:off x="4714614" y="1731594"/>
              <a:ext cx="3741127" cy="575734"/>
            </a:xfrm>
            <a:prstGeom prst="rect">
              <a:avLst/>
            </a:prstGeom>
            <a:noFill/>
          </p:spPr>
          <p:txBody>
            <a:bodyPr wrap="square" lIns="82486" tIns="41243" rIns="82486" bIns="41243" rtlCol="0">
              <a:spAutoFit/>
            </a:bodyPr>
            <a:lstStyle/>
            <a:p>
              <a:r>
                <a:rPr lang="fr-FR" sz="1600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Quand </a:t>
              </a:r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votre équipe s’est formée, et quelles étaient les circonstances?</a:t>
              </a:r>
              <a:endParaRPr lang="en-US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Lato" pitchFamily="34" charset="0"/>
                <a:cs typeface="Lato" pitchFamily="34" charset="0"/>
              </a:endParaRPr>
            </a:p>
          </p:txBody>
        </p:sp>
        <p:grpSp>
          <p:nvGrpSpPr>
            <p:cNvPr id="46" name="กลุ่ม 18"/>
            <p:cNvGrpSpPr/>
            <p:nvPr/>
          </p:nvGrpSpPr>
          <p:grpSpPr>
            <a:xfrm>
              <a:off x="4234305" y="1784275"/>
              <a:ext cx="470373" cy="470373"/>
              <a:chOff x="480336" y="-1242009"/>
              <a:chExt cx="1850720" cy="1850720"/>
            </a:xfrm>
          </p:grpSpPr>
          <p:sp>
            <p:nvSpPr>
              <p:cNvPr id="47" name="หยดน้ำ 19"/>
              <p:cNvSpPr/>
              <p:nvPr/>
            </p:nvSpPr>
            <p:spPr>
              <a:xfrm>
                <a:off x="480336" y="-1242009"/>
                <a:ext cx="1850720" cy="1850720"/>
              </a:xfrm>
              <a:prstGeom prst="teardrop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z="20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endParaRPr>
              </a:p>
            </p:txBody>
          </p:sp>
          <p:sp>
            <p:nvSpPr>
              <p:cNvPr id="48" name="Freeform 33"/>
              <p:cNvSpPr>
                <a:spLocks noChangeArrowheads="1"/>
              </p:cNvSpPr>
              <p:nvPr/>
            </p:nvSpPr>
            <p:spPr bwMode="auto">
              <a:xfrm>
                <a:off x="893342" y="-950380"/>
                <a:ext cx="1052217" cy="1107017"/>
              </a:xfrm>
              <a:custGeom>
                <a:avLst/>
                <a:gdLst>
                  <a:gd name="T0" fmla="*/ 124 w 338"/>
                  <a:gd name="T1" fmla="*/ 355 h 356"/>
                  <a:gd name="T2" fmla="*/ 124 w 338"/>
                  <a:gd name="T3" fmla="*/ 355 h 356"/>
                  <a:gd name="T4" fmla="*/ 98 w 338"/>
                  <a:gd name="T5" fmla="*/ 337 h 356"/>
                  <a:gd name="T6" fmla="*/ 9 w 338"/>
                  <a:gd name="T7" fmla="*/ 222 h 356"/>
                  <a:gd name="T8" fmla="*/ 18 w 338"/>
                  <a:gd name="T9" fmla="*/ 178 h 356"/>
                  <a:gd name="T10" fmla="*/ 62 w 338"/>
                  <a:gd name="T11" fmla="*/ 178 h 356"/>
                  <a:gd name="T12" fmla="*/ 124 w 338"/>
                  <a:gd name="T13" fmla="*/ 258 h 356"/>
                  <a:gd name="T14" fmla="*/ 266 w 338"/>
                  <a:gd name="T15" fmla="*/ 27 h 356"/>
                  <a:gd name="T16" fmla="*/ 319 w 338"/>
                  <a:gd name="T17" fmla="*/ 9 h 356"/>
                  <a:gd name="T18" fmla="*/ 328 w 338"/>
                  <a:gd name="T19" fmla="*/ 62 h 356"/>
                  <a:gd name="T20" fmla="*/ 160 w 338"/>
                  <a:gd name="T21" fmla="*/ 337 h 356"/>
                  <a:gd name="T22" fmla="*/ 124 w 338"/>
                  <a:gd name="T23" fmla="*/ 35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8" h="356">
                    <a:moveTo>
                      <a:pt x="124" y="355"/>
                    </a:moveTo>
                    <a:lnTo>
                      <a:pt x="124" y="355"/>
                    </a:lnTo>
                    <a:cubicBezTo>
                      <a:pt x="115" y="355"/>
                      <a:pt x="107" y="346"/>
                      <a:pt x="98" y="337"/>
                    </a:cubicBezTo>
                    <a:cubicBezTo>
                      <a:pt x="9" y="222"/>
                      <a:pt x="9" y="222"/>
                      <a:pt x="9" y="222"/>
                    </a:cubicBezTo>
                    <a:cubicBezTo>
                      <a:pt x="0" y="204"/>
                      <a:pt x="0" y="187"/>
                      <a:pt x="18" y="178"/>
                    </a:cubicBezTo>
                    <a:cubicBezTo>
                      <a:pt x="36" y="160"/>
                      <a:pt x="53" y="168"/>
                      <a:pt x="62" y="178"/>
                    </a:cubicBezTo>
                    <a:cubicBezTo>
                      <a:pt x="124" y="258"/>
                      <a:pt x="124" y="258"/>
                      <a:pt x="124" y="258"/>
                    </a:cubicBezTo>
                    <a:cubicBezTo>
                      <a:pt x="266" y="27"/>
                      <a:pt x="266" y="27"/>
                      <a:pt x="266" y="27"/>
                    </a:cubicBezTo>
                    <a:cubicBezTo>
                      <a:pt x="284" y="9"/>
                      <a:pt x="301" y="0"/>
                      <a:pt x="319" y="9"/>
                    </a:cubicBezTo>
                    <a:cubicBezTo>
                      <a:pt x="337" y="18"/>
                      <a:pt x="337" y="45"/>
                      <a:pt x="328" y="62"/>
                    </a:cubicBezTo>
                    <a:cubicBezTo>
                      <a:pt x="160" y="337"/>
                      <a:pt x="160" y="337"/>
                      <a:pt x="160" y="337"/>
                    </a:cubicBezTo>
                    <a:cubicBezTo>
                      <a:pt x="151" y="346"/>
                      <a:pt x="142" y="355"/>
                      <a:pt x="124" y="35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/>
            </p:spPr>
            <p:txBody>
              <a:bodyPr wrap="none" lIns="12891" tIns="6445" rIns="12891" bIns="6445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+mn-ea"/>
                </a:endParaRPr>
              </a:p>
            </p:txBody>
          </p:sp>
        </p:grpSp>
      </p:grpSp>
      <p:grpSp>
        <p:nvGrpSpPr>
          <p:cNvPr id="5" name="Groupe 4"/>
          <p:cNvGrpSpPr/>
          <p:nvPr/>
        </p:nvGrpSpPr>
        <p:grpSpPr>
          <a:xfrm>
            <a:off x="4199956" y="2464690"/>
            <a:ext cx="4255785" cy="821955"/>
            <a:chOff x="4199956" y="2475784"/>
            <a:chExt cx="4255785" cy="821955"/>
          </a:xfrm>
        </p:grpSpPr>
        <p:sp>
          <p:nvSpPr>
            <p:cNvPr id="50" name="TextBox 22"/>
            <p:cNvSpPr txBox="1"/>
            <p:nvPr/>
          </p:nvSpPr>
          <p:spPr>
            <a:xfrm>
              <a:off x="4714614" y="2475784"/>
              <a:ext cx="3741127" cy="821955"/>
            </a:xfrm>
            <a:prstGeom prst="rect">
              <a:avLst/>
            </a:prstGeom>
            <a:noFill/>
          </p:spPr>
          <p:txBody>
            <a:bodyPr wrap="square" lIns="82486" tIns="41243" rIns="82486" bIns="41243" rtlCol="0">
              <a:spAutoFit/>
            </a:bodyPr>
            <a:lstStyle/>
            <a:p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quelle est votre perception des différentes étapes du développement de vos </a:t>
              </a:r>
              <a:r>
                <a:rPr lang="fr-FR" sz="1600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équipes</a:t>
              </a:r>
              <a:endParaRPr lang="en-US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Lato" pitchFamily="34" charset="0"/>
                <a:cs typeface="Lato" pitchFamily="34" charset="0"/>
              </a:endParaRPr>
            </a:p>
          </p:txBody>
        </p:sp>
        <p:grpSp>
          <p:nvGrpSpPr>
            <p:cNvPr id="51" name="กลุ่ม 23"/>
            <p:cNvGrpSpPr/>
            <p:nvPr/>
          </p:nvGrpSpPr>
          <p:grpSpPr>
            <a:xfrm>
              <a:off x="4199956" y="2651575"/>
              <a:ext cx="470373" cy="470373"/>
              <a:chOff x="480336" y="-1242009"/>
              <a:chExt cx="1850720" cy="1850720"/>
            </a:xfrm>
          </p:grpSpPr>
          <p:sp>
            <p:nvSpPr>
              <p:cNvPr id="52" name="หยดน้ำ 24"/>
              <p:cNvSpPr/>
              <p:nvPr/>
            </p:nvSpPr>
            <p:spPr>
              <a:xfrm>
                <a:off x="480336" y="-1242009"/>
                <a:ext cx="1850720" cy="1850720"/>
              </a:xfrm>
              <a:prstGeom prst="teardrop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z="20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endParaRPr>
              </a:p>
            </p:txBody>
          </p:sp>
          <p:sp>
            <p:nvSpPr>
              <p:cNvPr id="53" name="Freeform 33"/>
              <p:cNvSpPr>
                <a:spLocks noChangeArrowheads="1"/>
              </p:cNvSpPr>
              <p:nvPr/>
            </p:nvSpPr>
            <p:spPr bwMode="auto">
              <a:xfrm>
                <a:off x="893342" y="-950380"/>
                <a:ext cx="1052217" cy="1107017"/>
              </a:xfrm>
              <a:custGeom>
                <a:avLst/>
                <a:gdLst>
                  <a:gd name="T0" fmla="*/ 124 w 338"/>
                  <a:gd name="T1" fmla="*/ 355 h 356"/>
                  <a:gd name="T2" fmla="*/ 124 w 338"/>
                  <a:gd name="T3" fmla="*/ 355 h 356"/>
                  <a:gd name="T4" fmla="*/ 98 w 338"/>
                  <a:gd name="T5" fmla="*/ 337 h 356"/>
                  <a:gd name="T6" fmla="*/ 9 w 338"/>
                  <a:gd name="T7" fmla="*/ 222 h 356"/>
                  <a:gd name="T8" fmla="*/ 18 w 338"/>
                  <a:gd name="T9" fmla="*/ 178 h 356"/>
                  <a:gd name="T10" fmla="*/ 62 w 338"/>
                  <a:gd name="T11" fmla="*/ 178 h 356"/>
                  <a:gd name="T12" fmla="*/ 124 w 338"/>
                  <a:gd name="T13" fmla="*/ 258 h 356"/>
                  <a:gd name="T14" fmla="*/ 266 w 338"/>
                  <a:gd name="T15" fmla="*/ 27 h 356"/>
                  <a:gd name="T16" fmla="*/ 319 w 338"/>
                  <a:gd name="T17" fmla="*/ 9 h 356"/>
                  <a:gd name="T18" fmla="*/ 328 w 338"/>
                  <a:gd name="T19" fmla="*/ 62 h 356"/>
                  <a:gd name="T20" fmla="*/ 160 w 338"/>
                  <a:gd name="T21" fmla="*/ 337 h 356"/>
                  <a:gd name="T22" fmla="*/ 124 w 338"/>
                  <a:gd name="T23" fmla="*/ 35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8" h="356">
                    <a:moveTo>
                      <a:pt x="124" y="355"/>
                    </a:moveTo>
                    <a:lnTo>
                      <a:pt x="124" y="355"/>
                    </a:lnTo>
                    <a:cubicBezTo>
                      <a:pt x="115" y="355"/>
                      <a:pt x="107" y="346"/>
                      <a:pt x="98" y="337"/>
                    </a:cubicBezTo>
                    <a:cubicBezTo>
                      <a:pt x="9" y="222"/>
                      <a:pt x="9" y="222"/>
                      <a:pt x="9" y="222"/>
                    </a:cubicBezTo>
                    <a:cubicBezTo>
                      <a:pt x="0" y="204"/>
                      <a:pt x="0" y="187"/>
                      <a:pt x="18" y="178"/>
                    </a:cubicBezTo>
                    <a:cubicBezTo>
                      <a:pt x="36" y="160"/>
                      <a:pt x="53" y="168"/>
                      <a:pt x="62" y="178"/>
                    </a:cubicBezTo>
                    <a:cubicBezTo>
                      <a:pt x="124" y="258"/>
                      <a:pt x="124" y="258"/>
                      <a:pt x="124" y="258"/>
                    </a:cubicBezTo>
                    <a:cubicBezTo>
                      <a:pt x="266" y="27"/>
                      <a:pt x="266" y="27"/>
                      <a:pt x="266" y="27"/>
                    </a:cubicBezTo>
                    <a:cubicBezTo>
                      <a:pt x="284" y="9"/>
                      <a:pt x="301" y="0"/>
                      <a:pt x="319" y="9"/>
                    </a:cubicBezTo>
                    <a:cubicBezTo>
                      <a:pt x="337" y="18"/>
                      <a:pt x="337" y="45"/>
                      <a:pt x="328" y="62"/>
                    </a:cubicBezTo>
                    <a:cubicBezTo>
                      <a:pt x="160" y="337"/>
                      <a:pt x="160" y="337"/>
                      <a:pt x="160" y="337"/>
                    </a:cubicBezTo>
                    <a:cubicBezTo>
                      <a:pt x="151" y="346"/>
                      <a:pt x="142" y="355"/>
                      <a:pt x="124" y="35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/>
            </p:spPr>
            <p:txBody>
              <a:bodyPr wrap="none" lIns="12891" tIns="6445" rIns="12891" bIns="6445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+mn-ea"/>
                </a:endParaRPr>
              </a:p>
            </p:txBody>
          </p:sp>
        </p:grpSp>
      </p:grpSp>
      <p:grpSp>
        <p:nvGrpSpPr>
          <p:cNvPr id="2" name="Groupe 1"/>
          <p:cNvGrpSpPr/>
          <p:nvPr/>
        </p:nvGrpSpPr>
        <p:grpSpPr>
          <a:xfrm>
            <a:off x="4199956" y="3444007"/>
            <a:ext cx="4255785" cy="575734"/>
            <a:chOff x="4199956" y="3312818"/>
            <a:chExt cx="4255785" cy="575734"/>
          </a:xfrm>
        </p:grpSpPr>
        <p:sp>
          <p:nvSpPr>
            <p:cNvPr id="55" name="TextBox 27"/>
            <p:cNvSpPr txBox="1"/>
            <p:nvPr/>
          </p:nvSpPr>
          <p:spPr>
            <a:xfrm>
              <a:off x="4714614" y="3312818"/>
              <a:ext cx="3741127" cy="575734"/>
            </a:xfrm>
            <a:prstGeom prst="rect">
              <a:avLst/>
            </a:prstGeom>
            <a:noFill/>
          </p:spPr>
          <p:txBody>
            <a:bodyPr wrap="square" lIns="82486" tIns="41243" rIns="82486" bIns="41243" rtlCol="0">
              <a:spAutoFit/>
            </a:bodyPr>
            <a:lstStyle/>
            <a:p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Dans quelle étape situeriez-vous votre équipe maintenant?</a:t>
              </a:r>
              <a:r>
                <a:rPr lang="en-US" sz="1600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?</a:t>
              </a:r>
              <a:endParaRPr lang="en-US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ea typeface="Lato" pitchFamily="34" charset="0"/>
                <a:cs typeface="Lato" pitchFamily="34" charset="0"/>
              </a:endParaRPr>
            </a:p>
          </p:txBody>
        </p:sp>
        <p:grpSp>
          <p:nvGrpSpPr>
            <p:cNvPr id="56" name="กลุ่ม 28"/>
            <p:cNvGrpSpPr/>
            <p:nvPr/>
          </p:nvGrpSpPr>
          <p:grpSpPr>
            <a:xfrm>
              <a:off x="4199956" y="3365499"/>
              <a:ext cx="470373" cy="470373"/>
              <a:chOff x="480336" y="-1242009"/>
              <a:chExt cx="1850720" cy="1850720"/>
            </a:xfrm>
          </p:grpSpPr>
          <p:sp>
            <p:nvSpPr>
              <p:cNvPr id="57" name="หยดน้ำ 29"/>
              <p:cNvSpPr/>
              <p:nvPr/>
            </p:nvSpPr>
            <p:spPr>
              <a:xfrm>
                <a:off x="480336" y="-1242009"/>
                <a:ext cx="1850720" cy="1850720"/>
              </a:xfrm>
              <a:prstGeom prst="teardrop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z="20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endParaRPr>
              </a:p>
            </p:txBody>
          </p:sp>
          <p:sp>
            <p:nvSpPr>
              <p:cNvPr id="58" name="Freeform 33"/>
              <p:cNvSpPr>
                <a:spLocks noChangeArrowheads="1"/>
              </p:cNvSpPr>
              <p:nvPr/>
            </p:nvSpPr>
            <p:spPr bwMode="auto">
              <a:xfrm>
                <a:off x="893342" y="-950380"/>
                <a:ext cx="1052217" cy="1107017"/>
              </a:xfrm>
              <a:custGeom>
                <a:avLst/>
                <a:gdLst>
                  <a:gd name="T0" fmla="*/ 124 w 338"/>
                  <a:gd name="T1" fmla="*/ 355 h 356"/>
                  <a:gd name="T2" fmla="*/ 124 w 338"/>
                  <a:gd name="T3" fmla="*/ 355 h 356"/>
                  <a:gd name="T4" fmla="*/ 98 w 338"/>
                  <a:gd name="T5" fmla="*/ 337 h 356"/>
                  <a:gd name="T6" fmla="*/ 9 w 338"/>
                  <a:gd name="T7" fmla="*/ 222 h 356"/>
                  <a:gd name="T8" fmla="*/ 18 w 338"/>
                  <a:gd name="T9" fmla="*/ 178 h 356"/>
                  <a:gd name="T10" fmla="*/ 62 w 338"/>
                  <a:gd name="T11" fmla="*/ 178 h 356"/>
                  <a:gd name="T12" fmla="*/ 124 w 338"/>
                  <a:gd name="T13" fmla="*/ 258 h 356"/>
                  <a:gd name="T14" fmla="*/ 266 w 338"/>
                  <a:gd name="T15" fmla="*/ 27 h 356"/>
                  <a:gd name="T16" fmla="*/ 319 w 338"/>
                  <a:gd name="T17" fmla="*/ 9 h 356"/>
                  <a:gd name="T18" fmla="*/ 328 w 338"/>
                  <a:gd name="T19" fmla="*/ 62 h 356"/>
                  <a:gd name="T20" fmla="*/ 160 w 338"/>
                  <a:gd name="T21" fmla="*/ 337 h 356"/>
                  <a:gd name="T22" fmla="*/ 124 w 338"/>
                  <a:gd name="T23" fmla="*/ 35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8" h="356">
                    <a:moveTo>
                      <a:pt x="124" y="355"/>
                    </a:moveTo>
                    <a:lnTo>
                      <a:pt x="124" y="355"/>
                    </a:lnTo>
                    <a:cubicBezTo>
                      <a:pt x="115" y="355"/>
                      <a:pt x="107" y="346"/>
                      <a:pt x="98" y="337"/>
                    </a:cubicBezTo>
                    <a:cubicBezTo>
                      <a:pt x="9" y="222"/>
                      <a:pt x="9" y="222"/>
                      <a:pt x="9" y="222"/>
                    </a:cubicBezTo>
                    <a:cubicBezTo>
                      <a:pt x="0" y="204"/>
                      <a:pt x="0" y="187"/>
                      <a:pt x="18" y="178"/>
                    </a:cubicBezTo>
                    <a:cubicBezTo>
                      <a:pt x="36" y="160"/>
                      <a:pt x="53" y="168"/>
                      <a:pt x="62" y="178"/>
                    </a:cubicBezTo>
                    <a:cubicBezTo>
                      <a:pt x="124" y="258"/>
                      <a:pt x="124" y="258"/>
                      <a:pt x="124" y="258"/>
                    </a:cubicBezTo>
                    <a:cubicBezTo>
                      <a:pt x="266" y="27"/>
                      <a:pt x="266" y="27"/>
                      <a:pt x="266" y="27"/>
                    </a:cubicBezTo>
                    <a:cubicBezTo>
                      <a:pt x="284" y="9"/>
                      <a:pt x="301" y="0"/>
                      <a:pt x="319" y="9"/>
                    </a:cubicBezTo>
                    <a:cubicBezTo>
                      <a:pt x="337" y="18"/>
                      <a:pt x="337" y="45"/>
                      <a:pt x="328" y="62"/>
                    </a:cubicBezTo>
                    <a:cubicBezTo>
                      <a:pt x="160" y="337"/>
                      <a:pt x="160" y="337"/>
                      <a:pt x="160" y="337"/>
                    </a:cubicBezTo>
                    <a:cubicBezTo>
                      <a:pt x="151" y="346"/>
                      <a:pt x="142" y="355"/>
                      <a:pt x="124" y="35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/>
            </p:spPr>
            <p:txBody>
              <a:bodyPr wrap="none" lIns="12891" tIns="6445" rIns="12891" bIns="6445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+mn-ea"/>
                </a:endParaRPr>
              </a:p>
            </p:txBody>
          </p:sp>
        </p:grpSp>
      </p:grpSp>
      <p:grpSp>
        <p:nvGrpSpPr>
          <p:cNvPr id="3" name="Groupe 2"/>
          <p:cNvGrpSpPr/>
          <p:nvPr/>
        </p:nvGrpSpPr>
        <p:grpSpPr>
          <a:xfrm>
            <a:off x="4199956" y="4177104"/>
            <a:ext cx="4255785" cy="575734"/>
            <a:chOff x="4199956" y="4177104"/>
            <a:chExt cx="4255785" cy="575734"/>
          </a:xfrm>
        </p:grpSpPr>
        <p:sp>
          <p:nvSpPr>
            <p:cNvPr id="60" name="TextBox 33"/>
            <p:cNvSpPr txBox="1"/>
            <p:nvPr/>
          </p:nvSpPr>
          <p:spPr>
            <a:xfrm>
              <a:off x="4714614" y="4177104"/>
              <a:ext cx="3741127" cy="575734"/>
            </a:xfrm>
            <a:prstGeom prst="rect">
              <a:avLst/>
            </a:prstGeom>
            <a:noFill/>
          </p:spPr>
          <p:txBody>
            <a:bodyPr wrap="square" lIns="82486" tIns="41243" rIns="82486" bIns="41243" rtlCol="0">
              <a:spAutoFit/>
            </a:bodyPr>
            <a:lstStyle/>
            <a:p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Que faut-il pour </a:t>
              </a:r>
              <a:r>
                <a:rPr lang="en-US" sz="1600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faire avancer l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é</a:t>
              </a:r>
              <a:r>
                <a:rPr lang="en-US" sz="1600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quipe à la </a:t>
              </a:r>
              <a:r>
                <a:rPr lang="en-US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Lato" pitchFamily="34" charset="0"/>
                  <a:cs typeface="Lato" pitchFamily="34" charset="0"/>
                </a:rPr>
                <a:t>prochaine étape? </a:t>
              </a:r>
            </a:p>
          </p:txBody>
        </p:sp>
        <p:grpSp>
          <p:nvGrpSpPr>
            <p:cNvPr id="61" name="กลุ่ม 34"/>
            <p:cNvGrpSpPr/>
            <p:nvPr/>
          </p:nvGrpSpPr>
          <p:grpSpPr>
            <a:xfrm>
              <a:off x="4199956" y="4229785"/>
              <a:ext cx="470373" cy="470373"/>
              <a:chOff x="480336" y="-1242009"/>
              <a:chExt cx="1850720" cy="1850720"/>
            </a:xfrm>
          </p:grpSpPr>
          <p:sp>
            <p:nvSpPr>
              <p:cNvPr id="62" name="หยดน้ำ 35"/>
              <p:cNvSpPr/>
              <p:nvPr/>
            </p:nvSpPr>
            <p:spPr>
              <a:xfrm>
                <a:off x="480336" y="-1242009"/>
                <a:ext cx="1850720" cy="1850720"/>
              </a:xfrm>
              <a:prstGeom prst="teardrop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z="20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endParaRPr>
              </a:p>
            </p:txBody>
          </p:sp>
          <p:sp>
            <p:nvSpPr>
              <p:cNvPr id="63" name="Freeform 33"/>
              <p:cNvSpPr>
                <a:spLocks noChangeArrowheads="1"/>
              </p:cNvSpPr>
              <p:nvPr/>
            </p:nvSpPr>
            <p:spPr bwMode="auto">
              <a:xfrm>
                <a:off x="893342" y="-950380"/>
                <a:ext cx="1052217" cy="1107017"/>
              </a:xfrm>
              <a:custGeom>
                <a:avLst/>
                <a:gdLst>
                  <a:gd name="T0" fmla="*/ 124 w 338"/>
                  <a:gd name="T1" fmla="*/ 355 h 356"/>
                  <a:gd name="T2" fmla="*/ 124 w 338"/>
                  <a:gd name="T3" fmla="*/ 355 h 356"/>
                  <a:gd name="T4" fmla="*/ 98 w 338"/>
                  <a:gd name="T5" fmla="*/ 337 h 356"/>
                  <a:gd name="T6" fmla="*/ 9 w 338"/>
                  <a:gd name="T7" fmla="*/ 222 h 356"/>
                  <a:gd name="T8" fmla="*/ 18 w 338"/>
                  <a:gd name="T9" fmla="*/ 178 h 356"/>
                  <a:gd name="T10" fmla="*/ 62 w 338"/>
                  <a:gd name="T11" fmla="*/ 178 h 356"/>
                  <a:gd name="T12" fmla="*/ 124 w 338"/>
                  <a:gd name="T13" fmla="*/ 258 h 356"/>
                  <a:gd name="T14" fmla="*/ 266 w 338"/>
                  <a:gd name="T15" fmla="*/ 27 h 356"/>
                  <a:gd name="T16" fmla="*/ 319 w 338"/>
                  <a:gd name="T17" fmla="*/ 9 h 356"/>
                  <a:gd name="T18" fmla="*/ 328 w 338"/>
                  <a:gd name="T19" fmla="*/ 62 h 356"/>
                  <a:gd name="T20" fmla="*/ 160 w 338"/>
                  <a:gd name="T21" fmla="*/ 337 h 356"/>
                  <a:gd name="T22" fmla="*/ 124 w 338"/>
                  <a:gd name="T23" fmla="*/ 355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8" h="356">
                    <a:moveTo>
                      <a:pt x="124" y="355"/>
                    </a:moveTo>
                    <a:lnTo>
                      <a:pt x="124" y="355"/>
                    </a:lnTo>
                    <a:cubicBezTo>
                      <a:pt x="115" y="355"/>
                      <a:pt x="107" y="346"/>
                      <a:pt x="98" y="337"/>
                    </a:cubicBezTo>
                    <a:cubicBezTo>
                      <a:pt x="9" y="222"/>
                      <a:pt x="9" y="222"/>
                      <a:pt x="9" y="222"/>
                    </a:cubicBezTo>
                    <a:cubicBezTo>
                      <a:pt x="0" y="204"/>
                      <a:pt x="0" y="187"/>
                      <a:pt x="18" y="178"/>
                    </a:cubicBezTo>
                    <a:cubicBezTo>
                      <a:pt x="36" y="160"/>
                      <a:pt x="53" y="168"/>
                      <a:pt x="62" y="178"/>
                    </a:cubicBezTo>
                    <a:cubicBezTo>
                      <a:pt x="124" y="258"/>
                      <a:pt x="124" y="258"/>
                      <a:pt x="124" y="258"/>
                    </a:cubicBezTo>
                    <a:cubicBezTo>
                      <a:pt x="266" y="27"/>
                      <a:pt x="266" y="27"/>
                      <a:pt x="266" y="27"/>
                    </a:cubicBezTo>
                    <a:cubicBezTo>
                      <a:pt x="284" y="9"/>
                      <a:pt x="301" y="0"/>
                      <a:pt x="319" y="9"/>
                    </a:cubicBezTo>
                    <a:cubicBezTo>
                      <a:pt x="337" y="18"/>
                      <a:pt x="337" y="45"/>
                      <a:pt x="328" y="62"/>
                    </a:cubicBezTo>
                    <a:cubicBezTo>
                      <a:pt x="160" y="337"/>
                      <a:pt x="160" y="337"/>
                      <a:pt x="160" y="337"/>
                    </a:cubicBezTo>
                    <a:cubicBezTo>
                      <a:pt x="151" y="346"/>
                      <a:pt x="142" y="355"/>
                      <a:pt x="124" y="35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/>
            </p:spPr>
            <p:txBody>
              <a:bodyPr wrap="none" lIns="12891" tIns="6445" rIns="12891" bIns="6445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ea typeface="+mn-ea"/>
                </a:endParaRPr>
              </a:p>
            </p:txBody>
          </p:sp>
        </p:grpSp>
      </p:grpSp>
      <p:sp>
        <p:nvSpPr>
          <p:cNvPr id="4" name="ZoneTexte 3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460F1D3D-3E54-4B8E-BF76-0FDC0B4E3BB0}" type="slidenum">
              <a:rPr lang="fr-FR" sz="1200" smtClean="0">
                <a:latin typeface="Gill Sans" panose="020B0604020202020204"/>
              </a:rPr>
              <a:pPr algn="ctr"/>
              <a:t>6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575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Espace réservé du texte 2"/>
          <p:cNvSpPr txBox="1">
            <a:spLocks/>
          </p:cNvSpPr>
          <p:nvPr/>
        </p:nvSpPr>
        <p:spPr>
          <a:xfrm>
            <a:off x="304799" y="266513"/>
            <a:ext cx="8534400" cy="692337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800" b="1" smtClean="0">
                <a:solidFill>
                  <a:srgbClr val="C2113A"/>
                </a:solidFill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EXERCICE DE GROUPE</a:t>
            </a:r>
            <a:endParaRPr lang="fr-FR" sz="1800" b="1" dirty="0">
              <a:solidFill>
                <a:srgbClr val="C2113A"/>
              </a:solidFill>
              <a:latin typeface="Gill Sans" panose="020B0604020202020204"/>
            </a:endParaRPr>
          </a:p>
        </p:txBody>
      </p:sp>
      <p:grpSp>
        <p:nvGrpSpPr>
          <p:cNvPr id="291" name="กลุ่ม 60634"/>
          <p:cNvGrpSpPr/>
          <p:nvPr/>
        </p:nvGrpSpPr>
        <p:grpSpPr>
          <a:xfrm>
            <a:off x="247994" y="1657903"/>
            <a:ext cx="3290781" cy="3843530"/>
            <a:chOff x="3630613" y="4419600"/>
            <a:chExt cx="7413625" cy="8604251"/>
          </a:xfrm>
        </p:grpSpPr>
        <p:grpSp>
          <p:nvGrpSpPr>
            <p:cNvPr id="292" name="Group 206"/>
            <p:cNvGrpSpPr>
              <a:grpSpLocks/>
            </p:cNvGrpSpPr>
            <p:nvPr/>
          </p:nvGrpSpPr>
          <p:grpSpPr bwMode="auto">
            <a:xfrm>
              <a:off x="3630613" y="4419600"/>
              <a:ext cx="7413625" cy="8420100"/>
              <a:chOff x="2287" y="2784"/>
              <a:chExt cx="4670" cy="5304"/>
            </a:xfrm>
          </p:grpSpPr>
          <p:sp>
            <p:nvSpPr>
              <p:cNvPr id="333" name="Freeform 6"/>
              <p:cNvSpPr>
                <a:spLocks noEditPoints="1"/>
              </p:cNvSpPr>
              <p:nvPr/>
            </p:nvSpPr>
            <p:spPr bwMode="auto">
              <a:xfrm>
                <a:off x="3429" y="2980"/>
                <a:ext cx="3528" cy="2295"/>
              </a:xfrm>
              <a:custGeom>
                <a:avLst/>
                <a:gdLst>
                  <a:gd name="T0" fmla="*/ 218 w 306"/>
                  <a:gd name="T1" fmla="*/ 182 h 199"/>
                  <a:gd name="T2" fmla="*/ 0 w 306"/>
                  <a:gd name="T3" fmla="*/ 182 h 199"/>
                  <a:gd name="T4" fmla="*/ 0 w 306"/>
                  <a:gd name="T5" fmla="*/ 199 h 199"/>
                  <a:gd name="T6" fmla="*/ 212 w 306"/>
                  <a:gd name="T7" fmla="*/ 199 h 199"/>
                  <a:gd name="T8" fmla="*/ 218 w 306"/>
                  <a:gd name="T9" fmla="*/ 182 h 199"/>
                  <a:gd name="T10" fmla="*/ 306 w 306"/>
                  <a:gd name="T11" fmla="*/ 0 h 199"/>
                  <a:gd name="T12" fmla="*/ 290 w 306"/>
                  <a:gd name="T13" fmla="*/ 0 h 199"/>
                  <a:gd name="T14" fmla="*/ 288 w 306"/>
                  <a:gd name="T15" fmla="*/ 182 h 199"/>
                  <a:gd name="T16" fmla="*/ 282 w 306"/>
                  <a:gd name="T17" fmla="*/ 182 h 199"/>
                  <a:gd name="T18" fmla="*/ 286 w 306"/>
                  <a:gd name="T19" fmla="*/ 199 h 199"/>
                  <a:gd name="T20" fmla="*/ 304 w 306"/>
                  <a:gd name="T21" fmla="*/ 199 h 199"/>
                  <a:gd name="T22" fmla="*/ 306 w 306"/>
                  <a:gd name="T23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06" h="199">
                    <a:moveTo>
                      <a:pt x="218" y="182"/>
                    </a:moveTo>
                    <a:cubicBezTo>
                      <a:pt x="0" y="182"/>
                      <a:pt x="0" y="182"/>
                      <a:pt x="0" y="182"/>
                    </a:cubicBezTo>
                    <a:cubicBezTo>
                      <a:pt x="0" y="199"/>
                      <a:pt x="0" y="199"/>
                      <a:pt x="0" y="199"/>
                    </a:cubicBezTo>
                    <a:cubicBezTo>
                      <a:pt x="212" y="199"/>
                      <a:pt x="212" y="199"/>
                      <a:pt x="212" y="199"/>
                    </a:cubicBezTo>
                    <a:cubicBezTo>
                      <a:pt x="218" y="182"/>
                      <a:pt x="218" y="182"/>
                      <a:pt x="218" y="182"/>
                    </a:cubicBezTo>
                    <a:moveTo>
                      <a:pt x="306" y="0"/>
                    </a:moveTo>
                    <a:cubicBezTo>
                      <a:pt x="290" y="0"/>
                      <a:pt x="290" y="0"/>
                      <a:pt x="290" y="0"/>
                    </a:cubicBezTo>
                    <a:cubicBezTo>
                      <a:pt x="288" y="182"/>
                      <a:pt x="288" y="182"/>
                      <a:pt x="288" y="182"/>
                    </a:cubicBezTo>
                    <a:cubicBezTo>
                      <a:pt x="282" y="182"/>
                      <a:pt x="282" y="182"/>
                      <a:pt x="282" y="182"/>
                    </a:cubicBezTo>
                    <a:cubicBezTo>
                      <a:pt x="283" y="187"/>
                      <a:pt x="285" y="193"/>
                      <a:pt x="286" y="199"/>
                    </a:cubicBezTo>
                    <a:cubicBezTo>
                      <a:pt x="304" y="199"/>
                      <a:pt x="304" y="199"/>
                      <a:pt x="304" y="199"/>
                    </a:cubicBezTo>
                    <a:cubicBezTo>
                      <a:pt x="306" y="0"/>
                      <a:pt x="306" y="0"/>
                      <a:pt x="306" y="0"/>
                    </a:cubicBezTo>
                  </a:path>
                </a:pathLst>
              </a:custGeom>
              <a:solidFill>
                <a:srgbClr val="BDC2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34" name="Freeform 7"/>
              <p:cNvSpPr>
                <a:spLocks/>
              </p:cNvSpPr>
              <p:nvPr/>
            </p:nvSpPr>
            <p:spPr bwMode="auto">
              <a:xfrm>
                <a:off x="3244" y="2784"/>
                <a:ext cx="3528" cy="2295"/>
              </a:xfrm>
              <a:custGeom>
                <a:avLst/>
                <a:gdLst>
                  <a:gd name="T0" fmla="*/ 23 w 3528"/>
                  <a:gd name="T1" fmla="*/ 12 h 2295"/>
                  <a:gd name="T2" fmla="*/ 0 w 3528"/>
                  <a:gd name="T3" fmla="*/ 2295 h 2295"/>
                  <a:gd name="T4" fmla="*/ 3505 w 3528"/>
                  <a:gd name="T5" fmla="*/ 2295 h 2295"/>
                  <a:gd name="T6" fmla="*/ 3528 w 3528"/>
                  <a:gd name="T7" fmla="*/ 0 h 2295"/>
                  <a:gd name="T8" fmla="*/ 23 w 3528"/>
                  <a:gd name="T9" fmla="*/ 12 h 2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28" h="2295">
                    <a:moveTo>
                      <a:pt x="23" y="12"/>
                    </a:moveTo>
                    <a:lnTo>
                      <a:pt x="0" y="2295"/>
                    </a:lnTo>
                    <a:lnTo>
                      <a:pt x="3505" y="2295"/>
                    </a:lnTo>
                    <a:lnTo>
                      <a:pt x="3528" y="0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38535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35" name="Freeform 8"/>
              <p:cNvSpPr>
                <a:spLocks/>
              </p:cNvSpPr>
              <p:nvPr/>
            </p:nvSpPr>
            <p:spPr bwMode="auto">
              <a:xfrm>
                <a:off x="3244" y="2784"/>
                <a:ext cx="3528" cy="2295"/>
              </a:xfrm>
              <a:custGeom>
                <a:avLst/>
                <a:gdLst>
                  <a:gd name="T0" fmla="*/ 23 w 3528"/>
                  <a:gd name="T1" fmla="*/ 12 h 2295"/>
                  <a:gd name="T2" fmla="*/ 0 w 3528"/>
                  <a:gd name="T3" fmla="*/ 2295 h 2295"/>
                  <a:gd name="T4" fmla="*/ 3505 w 3528"/>
                  <a:gd name="T5" fmla="*/ 2295 h 2295"/>
                  <a:gd name="T6" fmla="*/ 3528 w 3528"/>
                  <a:gd name="T7" fmla="*/ 0 h 2295"/>
                  <a:gd name="T8" fmla="*/ 23 w 3528"/>
                  <a:gd name="T9" fmla="*/ 12 h 2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28" h="2295">
                    <a:moveTo>
                      <a:pt x="23" y="12"/>
                    </a:moveTo>
                    <a:lnTo>
                      <a:pt x="0" y="2295"/>
                    </a:lnTo>
                    <a:lnTo>
                      <a:pt x="3505" y="2295"/>
                    </a:lnTo>
                    <a:lnTo>
                      <a:pt x="3528" y="0"/>
                    </a:lnTo>
                    <a:lnTo>
                      <a:pt x="23" y="1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36" name="Freeform 9"/>
              <p:cNvSpPr>
                <a:spLocks/>
              </p:cNvSpPr>
              <p:nvPr/>
            </p:nvSpPr>
            <p:spPr bwMode="auto">
              <a:xfrm>
                <a:off x="3394" y="2807"/>
                <a:ext cx="1603" cy="2249"/>
              </a:xfrm>
              <a:custGeom>
                <a:avLst/>
                <a:gdLst>
                  <a:gd name="T0" fmla="*/ 23 w 1603"/>
                  <a:gd name="T1" fmla="*/ 0 h 2249"/>
                  <a:gd name="T2" fmla="*/ 0 w 1603"/>
                  <a:gd name="T3" fmla="*/ 2249 h 2249"/>
                  <a:gd name="T4" fmla="*/ 1580 w 1603"/>
                  <a:gd name="T5" fmla="*/ 2249 h 2249"/>
                  <a:gd name="T6" fmla="*/ 1603 w 1603"/>
                  <a:gd name="T7" fmla="*/ 0 h 2249"/>
                  <a:gd name="T8" fmla="*/ 23 w 1603"/>
                  <a:gd name="T9" fmla="*/ 0 h 2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3" h="2249">
                    <a:moveTo>
                      <a:pt x="23" y="0"/>
                    </a:moveTo>
                    <a:lnTo>
                      <a:pt x="0" y="2249"/>
                    </a:lnTo>
                    <a:lnTo>
                      <a:pt x="1580" y="2249"/>
                    </a:lnTo>
                    <a:lnTo>
                      <a:pt x="1603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37" name="Freeform 10"/>
              <p:cNvSpPr>
                <a:spLocks/>
              </p:cNvSpPr>
              <p:nvPr/>
            </p:nvSpPr>
            <p:spPr bwMode="auto">
              <a:xfrm>
                <a:off x="3394" y="2807"/>
                <a:ext cx="1603" cy="2249"/>
              </a:xfrm>
              <a:custGeom>
                <a:avLst/>
                <a:gdLst>
                  <a:gd name="T0" fmla="*/ 23 w 1603"/>
                  <a:gd name="T1" fmla="*/ 0 h 2249"/>
                  <a:gd name="T2" fmla="*/ 0 w 1603"/>
                  <a:gd name="T3" fmla="*/ 2249 h 2249"/>
                  <a:gd name="T4" fmla="*/ 1580 w 1603"/>
                  <a:gd name="T5" fmla="*/ 2249 h 2249"/>
                  <a:gd name="T6" fmla="*/ 1603 w 1603"/>
                  <a:gd name="T7" fmla="*/ 0 h 2249"/>
                  <a:gd name="T8" fmla="*/ 23 w 1603"/>
                  <a:gd name="T9" fmla="*/ 0 h 2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3" h="2249">
                    <a:moveTo>
                      <a:pt x="23" y="0"/>
                    </a:moveTo>
                    <a:lnTo>
                      <a:pt x="0" y="2249"/>
                    </a:lnTo>
                    <a:lnTo>
                      <a:pt x="1580" y="2249"/>
                    </a:lnTo>
                    <a:lnTo>
                      <a:pt x="1603" y="0"/>
                    </a:lnTo>
                    <a:lnTo>
                      <a:pt x="2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38" name="Freeform 11"/>
              <p:cNvSpPr>
                <a:spLocks/>
              </p:cNvSpPr>
              <p:nvPr/>
            </p:nvSpPr>
            <p:spPr bwMode="auto">
              <a:xfrm>
                <a:off x="4858" y="4687"/>
                <a:ext cx="93" cy="80"/>
              </a:xfrm>
              <a:custGeom>
                <a:avLst/>
                <a:gdLst>
                  <a:gd name="T0" fmla="*/ 4 w 8"/>
                  <a:gd name="T1" fmla="*/ 0 h 7"/>
                  <a:gd name="T2" fmla="*/ 0 w 8"/>
                  <a:gd name="T3" fmla="*/ 4 h 7"/>
                  <a:gd name="T4" fmla="*/ 4 w 8"/>
                  <a:gd name="T5" fmla="*/ 7 h 7"/>
                  <a:gd name="T6" fmla="*/ 8 w 8"/>
                  <a:gd name="T7" fmla="*/ 4 h 7"/>
                  <a:gd name="T8" fmla="*/ 4 w 8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4" y="0"/>
                    </a:moveTo>
                    <a:cubicBezTo>
                      <a:pt x="2" y="0"/>
                      <a:pt x="1" y="2"/>
                      <a:pt x="0" y="4"/>
                    </a:cubicBezTo>
                    <a:cubicBezTo>
                      <a:pt x="0" y="6"/>
                      <a:pt x="2" y="7"/>
                      <a:pt x="4" y="7"/>
                    </a:cubicBezTo>
                    <a:cubicBezTo>
                      <a:pt x="6" y="7"/>
                      <a:pt x="8" y="6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39" name="Freeform 12"/>
              <p:cNvSpPr>
                <a:spLocks/>
              </p:cNvSpPr>
              <p:nvPr/>
            </p:nvSpPr>
            <p:spPr bwMode="auto">
              <a:xfrm>
                <a:off x="4870" y="4698"/>
                <a:ext cx="81" cy="69"/>
              </a:xfrm>
              <a:custGeom>
                <a:avLst/>
                <a:gdLst>
                  <a:gd name="T0" fmla="*/ 6 w 7"/>
                  <a:gd name="T1" fmla="*/ 0 h 6"/>
                  <a:gd name="T2" fmla="*/ 6 w 7"/>
                  <a:gd name="T3" fmla="*/ 2 h 6"/>
                  <a:gd name="T4" fmla="*/ 2 w 7"/>
                  <a:gd name="T5" fmla="*/ 5 h 6"/>
                  <a:gd name="T6" fmla="*/ 0 w 7"/>
                  <a:gd name="T7" fmla="*/ 4 h 6"/>
                  <a:gd name="T8" fmla="*/ 3 w 7"/>
                  <a:gd name="T9" fmla="*/ 6 h 6"/>
                  <a:gd name="T10" fmla="*/ 7 w 7"/>
                  <a:gd name="T11" fmla="*/ 3 h 6"/>
                  <a:gd name="T12" fmla="*/ 6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6" y="0"/>
                    </a:move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4" y="5"/>
                      <a:pt x="2" y="5"/>
                    </a:cubicBezTo>
                    <a:cubicBezTo>
                      <a:pt x="1" y="5"/>
                      <a:pt x="0" y="5"/>
                      <a:pt x="0" y="4"/>
                    </a:cubicBezTo>
                    <a:cubicBezTo>
                      <a:pt x="0" y="5"/>
                      <a:pt x="2" y="6"/>
                      <a:pt x="3" y="6"/>
                    </a:cubicBezTo>
                    <a:cubicBezTo>
                      <a:pt x="5" y="6"/>
                      <a:pt x="7" y="5"/>
                      <a:pt x="7" y="3"/>
                    </a:cubicBezTo>
                    <a:cubicBezTo>
                      <a:pt x="7" y="2"/>
                      <a:pt x="6" y="1"/>
                      <a:pt x="6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40" name="Oval 13"/>
              <p:cNvSpPr>
                <a:spLocks noChangeArrowheads="1"/>
              </p:cNvSpPr>
              <p:nvPr/>
            </p:nvSpPr>
            <p:spPr bwMode="auto">
              <a:xfrm>
                <a:off x="4870" y="4514"/>
                <a:ext cx="81" cy="92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41" name="Freeform 14"/>
              <p:cNvSpPr>
                <a:spLocks/>
              </p:cNvSpPr>
              <p:nvPr/>
            </p:nvSpPr>
            <p:spPr bwMode="auto">
              <a:xfrm>
                <a:off x="4870" y="4525"/>
                <a:ext cx="81" cy="81"/>
              </a:xfrm>
              <a:custGeom>
                <a:avLst/>
                <a:gdLst>
                  <a:gd name="T0" fmla="*/ 6 w 7"/>
                  <a:gd name="T1" fmla="*/ 0 h 7"/>
                  <a:gd name="T2" fmla="*/ 6 w 7"/>
                  <a:gd name="T3" fmla="*/ 2 h 7"/>
                  <a:gd name="T4" fmla="*/ 2 w 7"/>
                  <a:gd name="T5" fmla="*/ 6 h 7"/>
                  <a:gd name="T6" fmla="*/ 0 w 7"/>
                  <a:gd name="T7" fmla="*/ 5 h 7"/>
                  <a:gd name="T8" fmla="*/ 3 w 7"/>
                  <a:gd name="T9" fmla="*/ 7 h 7"/>
                  <a:gd name="T10" fmla="*/ 7 w 7"/>
                  <a:gd name="T11" fmla="*/ 3 h 7"/>
                  <a:gd name="T12" fmla="*/ 6 w 7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6" y="0"/>
                    </a:moveTo>
                    <a:cubicBezTo>
                      <a:pt x="6" y="1"/>
                      <a:pt x="6" y="2"/>
                      <a:pt x="6" y="2"/>
                    </a:cubicBezTo>
                    <a:cubicBezTo>
                      <a:pt x="6" y="4"/>
                      <a:pt x="4" y="6"/>
                      <a:pt x="2" y="6"/>
                    </a:cubicBezTo>
                    <a:cubicBezTo>
                      <a:pt x="2" y="6"/>
                      <a:pt x="1" y="5"/>
                      <a:pt x="0" y="5"/>
                    </a:cubicBezTo>
                    <a:cubicBezTo>
                      <a:pt x="1" y="6"/>
                      <a:pt x="2" y="7"/>
                      <a:pt x="3" y="7"/>
                    </a:cubicBezTo>
                    <a:cubicBezTo>
                      <a:pt x="5" y="7"/>
                      <a:pt x="7" y="5"/>
                      <a:pt x="7" y="3"/>
                    </a:cubicBezTo>
                    <a:cubicBezTo>
                      <a:pt x="7" y="2"/>
                      <a:pt x="6" y="1"/>
                      <a:pt x="6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42" name="Oval 15"/>
              <p:cNvSpPr>
                <a:spLocks noChangeArrowheads="1"/>
              </p:cNvSpPr>
              <p:nvPr/>
            </p:nvSpPr>
            <p:spPr bwMode="auto">
              <a:xfrm>
                <a:off x="4870" y="4352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43" name="Freeform 16"/>
              <p:cNvSpPr>
                <a:spLocks/>
              </p:cNvSpPr>
              <p:nvPr/>
            </p:nvSpPr>
            <p:spPr bwMode="auto">
              <a:xfrm>
                <a:off x="4870" y="4364"/>
                <a:ext cx="81" cy="69"/>
              </a:xfrm>
              <a:custGeom>
                <a:avLst/>
                <a:gdLst>
                  <a:gd name="T0" fmla="*/ 6 w 7"/>
                  <a:gd name="T1" fmla="*/ 0 h 6"/>
                  <a:gd name="T2" fmla="*/ 6 w 7"/>
                  <a:gd name="T3" fmla="*/ 2 h 6"/>
                  <a:gd name="T4" fmla="*/ 3 w 7"/>
                  <a:gd name="T5" fmla="*/ 5 h 6"/>
                  <a:gd name="T6" fmla="*/ 0 w 7"/>
                  <a:gd name="T7" fmla="*/ 4 h 6"/>
                  <a:gd name="T8" fmla="*/ 3 w 7"/>
                  <a:gd name="T9" fmla="*/ 6 h 6"/>
                  <a:gd name="T10" fmla="*/ 7 w 7"/>
                  <a:gd name="T11" fmla="*/ 3 h 6"/>
                  <a:gd name="T12" fmla="*/ 6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6" y="0"/>
                    </a:moveTo>
                    <a:cubicBezTo>
                      <a:pt x="6" y="0"/>
                      <a:pt x="6" y="1"/>
                      <a:pt x="6" y="2"/>
                    </a:cubicBezTo>
                    <a:cubicBezTo>
                      <a:pt x="6" y="4"/>
                      <a:pt x="5" y="5"/>
                      <a:pt x="3" y="5"/>
                    </a:cubicBezTo>
                    <a:cubicBezTo>
                      <a:pt x="2" y="5"/>
                      <a:pt x="1" y="5"/>
                      <a:pt x="0" y="4"/>
                    </a:cubicBezTo>
                    <a:cubicBezTo>
                      <a:pt x="1" y="5"/>
                      <a:pt x="2" y="6"/>
                      <a:pt x="3" y="6"/>
                    </a:cubicBezTo>
                    <a:cubicBezTo>
                      <a:pt x="5" y="6"/>
                      <a:pt x="7" y="5"/>
                      <a:pt x="7" y="3"/>
                    </a:cubicBezTo>
                    <a:cubicBezTo>
                      <a:pt x="7" y="2"/>
                      <a:pt x="6" y="1"/>
                      <a:pt x="6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44" name="Freeform 17"/>
              <p:cNvSpPr>
                <a:spLocks/>
              </p:cNvSpPr>
              <p:nvPr/>
            </p:nvSpPr>
            <p:spPr bwMode="auto">
              <a:xfrm>
                <a:off x="4870" y="4179"/>
                <a:ext cx="81" cy="93"/>
              </a:xfrm>
              <a:custGeom>
                <a:avLst/>
                <a:gdLst>
                  <a:gd name="T0" fmla="*/ 4 w 7"/>
                  <a:gd name="T1" fmla="*/ 0 h 8"/>
                  <a:gd name="T2" fmla="*/ 0 w 7"/>
                  <a:gd name="T3" fmla="*/ 4 h 8"/>
                  <a:gd name="T4" fmla="*/ 3 w 7"/>
                  <a:gd name="T5" fmla="*/ 8 h 8"/>
                  <a:gd name="T6" fmla="*/ 7 w 7"/>
                  <a:gd name="T7" fmla="*/ 4 h 8"/>
                  <a:gd name="T8" fmla="*/ 4 w 7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1" y="8"/>
                      <a:pt x="3" y="8"/>
                    </a:cubicBezTo>
                    <a:cubicBezTo>
                      <a:pt x="5" y="8"/>
                      <a:pt x="7" y="6"/>
                      <a:pt x="7" y="4"/>
                    </a:cubicBezTo>
                    <a:cubicBezTo>
                      <a:pt x="7" y="2"/>
                      <a:pt x="5" y="0"/>
                      <a:pt x="4" y="0"/>
                    </a:cubicBezTo>
                    <a:close/>
                  </a:path>
                </a:pathLst>
              </a:cu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45" name="Freeform 18"/>
              <p:cNvSpPr>
                <a:spLocks/>
              </p:cNvSpPr>
              <p:nvPr/>
            </p:nvSpPr>
            <p:spPr bwMode="auto">
              <a:xfrm>
                <a:off x="4870" y="4191"/>
                <a:ext cx="81" cy="81"/>
              </a:xfrm>
              <a:custGeom>
                <a:avLst/>
                <a:gdLst>
                  <a:gd name="T0" fmla="*/ 6 w 7"/>
                  <a:gd name="T1" fmla="*/ 0 h 7"/>
                  <a:gd name="T2" fmla="*/ 6 w 7"/>
                  <a:gd name="T3" fmla="*/ 2 h 7"/>
                  <a:gd name="T4" fmla="*/ 3 w 7"/>
                  <a:gd name="T5" fmla="*/ 6 h 7"/>
                  <a:gd name="T6" fmla="*/ 0 w 7"/>
                  <a:gd name="T7" fmla="*/ 5 h 7"/>
                  <a:gd name="T8" fmla="*/ 3 w 7"/>
                  <a:gd name="T9" fmla="*/ 7 h 7"/>
                  <a:gd name="T10" fmla="*/ 7 w 7"/>
                  <a:gd name="T11" fmla="*/ 3 h 7"/>
                  <a:gd name="T12" fmla="*/ 6 w 7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6" y="0"/>
                    </a:move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5" y="6"/>
                      <a:pt x="3" y="6"/>
                    </a:cubicBezTo>
                    <a:cubicBezTo>
                      <a:pt x="2" y="6"/>
                      <a:pt x="1" y="5"/>
                      <a:pt x="0" y="5"/>
                    </a:cubicBezTo>
                    <a:cubicBezTo>
                      <a:pt x="1" y="6"/>
                      <a:pt x="2" y="7"/>
                      <a:pt x="3" y="7"/>
                    </a:cubicBezTo>
                    <a:cubicBezTo>
                      <a:pt x="5" y="7"/>
                      <a:pt x="7" y="5"/>
                      <a:pt x="7" y="3"/>
                    </a:cubicBezTo>
                    <a:cubicBezTo>
                      <a:pt x="7" y="2"/>
                      <a:pt x="7" y="1"/>
                      <a:pt x="6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46" name="Oval 19"/>
              <p:cNvSpPr>
                <a:spLocks noChangeArrowheads="1"/>
              </p:cNvSpPr>
              <p:nvPr/>
            </p:nvSpPr>
            <p:spPr bwMode="auto">
              <a:xfrm>
                <a:off x="4870" y="4018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47" name="Freeform 20"/>
              <p:cNvSpPr>
                <a:spLocks/>
              </p:cNvSpPr>
              <p:nvPr/>
            </p:nvSpPr>
            <p:spPr bwMode="auto">
              <a:xfrm>
                <a:off x="4870" y="4029"/>
                <a:ext cx="81" cy="70"/>
              </a:xfrm>
              <a:custGeom>
                <a:avLst/>
                <a:gdLst>
                  <a:gd name="T0" fmla="*/ 6 w 7"/>
                  <a:gd name="T1" fmla="*/ 0 h 6"/>
                  <a:gd name="T2" fmla="*/ 7 w 7"/>
                  <a:gd name="T3" fmla="*/ 2 h 6"/>
                  <a:gd name="T4" fmla="*/ 3 w 7"/>
                  <a:gd name="T5" fmla="*/ 5 h 6"/>
                  <a:gd name="T6" fmla="*/ 0 w 7"/>
                  <a:gd name="T7" fmla="*/ 4 h 6"/>
                  <a:gd name="T8" fmla="*/ 4 w 7"/>
                  <a:gd name="T9" fmla="*/ 6 h 6"/>
                  <a:gd name="T10" fmla="*/ 7 w 7"/>
                  <a:gd name="T11" fmla="*/ 2 h 6"/>
                  <a:gd name="T12" fmla="*/ 6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6" y="0"/>
                    </a:moveTo>
                    <a:cubicBezTo>
                      <a:pt x="6" y="0"/>
                      <a:pt x="7" y="1"/>
                      <a:pt x="7" y="2"/>
                    </a:cubicBezTo>
                    <a:cubicBezTo>
                      <a:pt x="7" y="4"/>
                      <a:pt x="5" y="5"/>
                      <a:pt x="3" y="5"/>
                    </a:cubicBezTo>
                    <a:cubicBezTo>
                      <a:pt x="2" y="5"/>
                      <a:pt x="1" y="5"/>
                      <a:pt x="0" y="4"/>
                    </a:cubicBezTo>
                    <a:cubicBezTo>
                      <a:pt x="1" y="5"/>
                      <a:pt x="2" y="6"/>
                      <a:pt x="4" y="6"/>
                    </a:cubicBezTo>
                    <a:cubicBezTo>
                      <a:pt x="6" y="6"/>
                      <a:pt x="7" y="4"/>
                      <a:pt x="7" y="2"/>
                    </a:cubicBezTo>
                    <a:cubicBezTo>
                      <a:pt x="7" y="1"/>
                      <a:pt x="7" y="1"/>
                      <a:pt x="6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48" name="Oval 21"/>
              <p:cNvSpPr>
                <a:spLocks noChangeArrowheads="1"/>
              </p:cNvSpPr>
              <p:nvPr/>
            </p:nvSpPr>
            <p:spPr bwMode="auto">
              <a:xfrm>
                <a:off x="4870" y="3845"/>
                <a:ext cx="81" cy="92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49" name="Freeform 22"/>
              <p:cNvSpPr>
                <a:spLocks/>
              </p:cNvSpPr>
              <p:nvPr/>
            </p:nvSpPr>
            <p:spPr bwMode="auto">
              <a:xfrm>
                <a:off x="4881" y="3856"/>
                <a:ext cx="70" cy="81"/>
              </a:xfrm>
              <a:custGeom>
                <a:avLst/>
                <a:gdLst>
                  <a:gd name="T0" fmla="*/ 5 w 6"/>
                  <a:gd name="T1" fmla="*/ 0 h 7"/>
                  <a:gd name="T2" fmla="*/ 6 w 6"/>
                  <a:gd name="T3" fmla="*/ 2 h 7"/>
                  <a:gd name="T4" fmla="*/ 2 w 6"/>
                  <a:gd name="T5" fmla="*/ 6 h 7"/>
                  <a:gd name="T6" fmla="*/ 0 w 6"/>
                  <a:gd name="T7" fmla="*/ 5 h 7"/>
                  <a:gd name="T8" fmla="*/ 3 w 6"/>
                  <a:gd name="T9" fmla="*/ 7 h 7"/>
                  <a:gd name="T10" fmla="*/ 6 w 6"/>
                  <a:gd name="T11" fmla="*/ 3 h 7"/>
                  <a:gd name="T12" fmla="*/ 5 w 6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7">
                    <a:moveTo>
                      <a:pt x="5" y="0"/>
                    </a:move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4" y="6"/>
                      <a:pt x="2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0" y="6"/>
                      <a:pt x="1" y="7"/>
                      <a:pt x="3" y="7"/>
                    </a:cubicBezTo>
                    <a:cubicBezTo>
                      <a:pt x="5" y="7"/>
                      <a:pt x="6" y="5"/>
                      <a:pt x="6" y="3"/>
                    </a:cubicBezTo>
                    <a:cubicBezTo>
                      <a:pt x="6" y="2"/>
                      <a:pt x="6" y="1"/>
                      <a:pt x="5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50" name="Freeform 23"/>
              <p:cNvSpPr>
                <a:spLocks/>
              </p:cNvSpPr>
              <p:nvPr/>
            </p:nvSpPr>
            <p:spPr bwMode="auto">
              <a:xfrm>
                <a:off x="4870" y="3683"/>
                <a:ext cx="92" cy="81"/>
              </a:xfrm>
              <a:custGeom>
                <a:avLst/>
                <a:gdLst>
                  <a:gd name="T0" fmla="*/ 4 w 8"/>
                  <a:gd name="T1" fmla="*/ 0 h 7"/>
                  <a:gd name="T2" fmla="*/ 0 w 8"/>
                  <a:gd name="T3" fmla="*/ 3 h 7"/>
                  <a:gd name="T4" fmla="*/ 4 w 8"/>
                  <a:gd name="T5" fmla="*/ 7 h 7"/>
                  <a:gd name="T6" fmla="*/ 7 w 8"/>
                  <a:gd name="T7" fmla="*/ 3 h 7"/>
                  <a:gd name="T8" fmla="*/ 4 w 8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4" y="0"/>
                    </a:moveTo>
                    <a:cubicBezTo>
                      <a:pt x="2" y="0"/>
                      <a:pt x="0" y="1"/>
                      <a:pt x="0" y="3"/>
                    </a:cubicBezTo>
                    <a:cubicBezTo>
                      <a:pt x="0" y="5"/>
                      <a:pt x="2" y="7"/>
                      <a:pt x="4" y="7"/>
                    </a:cubicBezTo>
                    <a:cubicBezTo>
                      <a:pt x="6" y="7"/>
                      <a:pt x="7" y="5"/>
                      <a:pt x="7" y="3"/>
                    </a:cubicBezTo>
                    <a:cubicBezTo>
                      <a:pt x="8" y="1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51" name="Freeform 24"/>
              <p:cNvSpPr>
                <a:spLocks/>
              </p:cNvSpPr>
              <p:nvPr/>
            </p:nvSpPr>
            <p:spPr bwMode="auto">
              <a:xfrm>
                <a:off x="4881" y="3695"/>
                <a:ext cx="81" cy="69"/>
              </a:xfrm>
              <a:custGeom>
                <a:avLst/>
                <a:gdLst>
                  <a:gd name="T0" fmla="*/ 5 w 7"/>
                  <a:gd name="T1" fmla="*/ 0 h 6"/>
                  <a:gd name="T2" fmla="*/ 6 w 7"/>
                  <a:gd name="T3" fmla="*/ 1 h 6"/>
                  <a:gd name="T4" fmla="*/ 2 w 7"/>
                  <a:gd name="T5" fmla="*/ 5 h 6"/>
                  <a:gd name="T6" fmla="*/ 0 w 7"/>
                  <a:gd name="T7" fmla="*/ 4 h 6"/>
                  <a:gd name="T8" fmla="*/ 3 w 7"/>
                  <a:gd name="T9" fmla="*/ 6 h 6"/>
                  <a:gd name="T10" fmla="*/ 6 w 7"/>
                  <a:gd name="T11" fmla="*/ 2 h 6"/>
                  <a:gd name="T12" fmla="*/ 5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5" y="0"/>
                    </a:moveTo>
                    <a:cubicBezTo>
                      <a:pt x="6" y="0"/>
                      <a:pt x="6" y="1"/>
                      <a:pt x="6" y="1"/>
                    </a:cubicBezTo>
                    <a:cubicBezTo>
                      <a:pt x="6" y="3"/>
                      <a:pt x="4" y="5"/>
                      <a:pt x="2" y="5"/>
                    </a:cubicBezTo>
                    <a:cubicBezTo>
                      <a:pt x="1" y="5"/>
                      <a:pt x="0" y="5"/>
                      <a:pt x="0" y="4"/>
                    </a:cubicBezTo>
                    <a:cubicBezTo>
                      <a:pt x="0" y="5"/>
                      <a:pt x="2" y="6"/>
                      <a:pt x="3" y="6"/>
                    </a:cubicBezTo>
                    <a:cubicBezTo>
                      <a:pt x="5" y="6"/>
                      <a:pt x="6" y="4"/>
                      <a:pt x="6" y="2"/>
                    </a:cubicBezTo>
                    <a:cubicBezTo>
                      <a:pt x="7" y="1"/>
                      <a:pt x="6" y="0"/>
                      <a:pt x="5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52" name="Oval 25"/>
              <p:cNvSpPr>
                <a:spLocks noChangeArrowheads="1"/>
              </p:cNvSpPr>
              <p:nvPr/>
            </p:nvSpPr>
            <p:spPr bwMode="auto">
              <a:xfrm>
                <a:off x="4881" y="3510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53" name="Freeform 26"/>
              <p:cNvSpPr>
                <a:spLocks/>
              </p:cNvSpPr>
              <p:nvPr/>
            </p:nvSpPr>
            <p:spPr bwMode="auto">
              <a:xfrm>
                <a:off x="4881" y="3522"/>
                <a:ext cx="81" cy="69"/>
              </a:xfrm>
              <a:custGeom>
                <a:avLst/>
                <a:gdLst>
                  <a:gd name="T0" fmla="*/ 6 w 7"/>
                  <a:gd name="T1" fmla="*/ 0 h 6"/>
                  <a:gd name="T2" fmla="*/ 6 w 7"/>
                  <a:gd name="T3" fmla="*/ 2 h 6"/>
                  <a:gd name="T4" fmla="*/ 2 w 7"/>
                  <a:gd name="T5" fmla="*/ 6 h 6"/>
                  <a:gd name="T6" fmla="*/ 0 w 7"/>
                  <a:gd name="T7" fmla="*/ 4 h 6"/>
                  <a:gd name="T8" fmla="*/ 3 w 7"/>
                  <a:gd name="T9" fmla="*/ 6 h 6"/>
                  <a:gd name="T10" fmla="*/ 7 w 7"/>
                  <a:gd name="T11" fmla="*/ 3 h 6"/>
                  <a:gd name="T12" fmla="*/ 6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6" y="0"/>
                    </a:move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4" y="6"/>
                      <a:pt x="2" y="6"/>
                    </a:cubicBezTo>
                    <a:cubicBezTo>
                      <a:pt x="1" y="6"/>
                      <a:pt x="1" y="5"/>
                      <a:pt x="0" y="4"/>
                    </a:cubicBezTo>
                    <a:cubicBezTo>
                      <a:pt x="1" y="6"/>
                      <a:pt x="2" y="6"/>
                      <a:pt x="3" y="6"/>
                    </a:cubicBezTo>
                    <a:cubicBezTo>
                      <a:pt x="5" y="6"/>
                      <a:pt x="7" y="5"/>
                      <a:pt x="7" y="3"/>
                    </a:cubicBezTo>
                    <a:cubicBezTo>
                      <a:pt x="7" y="2"/>
                      <a:pt x="6" y="1"/>
                      <a:pt x="6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54" name="Oval 27"/>
              <p:cNvSpPr>
                <a:spLocks noChangeArrowheads="1"/>
              </p:cNvSpPr>
              <p:nvPr/>
            </p:nvSpPr>
            <p:spPr bwMode="auto">
              <a:xfrm>
                <a:off x="4881" y="3349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55" name="Freeform 28"/>
              <p:cNvSpPr>
                <a:spLocks/>
              </p:cNvSpPr>
              <p:nvPr/>
            </p:nvSpPr>
            <p:spPr bwMode="auto">
              <a:xfrm>
                <a:off x="4881" y="3361"/>
                <a:ext cx="81" cy="69"/>
              </a:xfrm>
              <a:custGeom>
                <a:avLst/>
                <a:gdLst>
                  <a:gd name="T0" fmla="*/ 6 w 7"/>
                  <a:gd name="T1" fmla="*/ 0 h 6"/>
                  <a:gd name="T2" fmla="*/ 6 w 7"/>
                  <a:gd name="T3" fmla="*/ 1 h 6"/>
                  <a:gd name="T4" fmla="*/ 3 w 7"/>
                  <a:gd name="T5" fmla="*/ 5 h 6"/>
                  <a:gd name="T6" fmla="*/ 0 w 7"/>
                  <a:gd name="T7" fmla="*/ 4 h 6"/>
                  <a:gd name="T8" fmla="*/ 3 w 7"/>
                  <a:gd name="T9" fmla="*/ 6 h 6"/>
                  <a:gd name="T10" fmla="*/ 7 w 7"/>
                  <a:gd name="T11" fmla="*/ 2 h 6"/>
                  <a:gd name="T12" fmla="*/ 6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6" y="0"/>
                    </a:moveTo>
                    <a:cubicBezTo>
                      <a:pt x="6" y="0"/>
                      <a:pt x="6" y="1"/>
                      <a:pt x="6" y="1"/>
                    </a:cubicBezTo>
                    <a:cubicBezTo>
                      <a:pt x="6" y="3"/>
                      <a:pt x="5" y="5"/>
                      <a:pt x="3" y="5"/>
                    </a:cubicBezTo>
                    <a:cubicBezTo>
                      <a:pt x="2" y="5"/>
                      <a:pt x="1" y="5"/>
                      <a:pt x="0" y="4"/>
                    </a:cubicBezTo>
                    <a:cubicBezTo>
                      <a:pt x="1" y="5"/>
                      <a:pt x="2" y="6"/>
                      <a:pt x="3" y="6"/>
                    </a:cubicBezTo>
                    <a:cubicBezTo>
                      <a:pt x="5" y="6"/>
                      <a:pt x="7" y="4"/>
                      <a:pt x="7" y="2"/>
                    </a:cubicBezTo>
                    <a:cubicBezTo>
                      <a:pt x="7" y="1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56" name="Oval 29"/>
              <p:cNvSpPr>
                <a:spLocks noChangeArrowheads="1"/>
              </p:cNvSpPr>
              <p:nvPr/>
            </p:nvSpPr>
            <p:spPr bwMode="auto">
              <a:xfrm>
                <a:off x="4881" y="3176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57" name="Freeform 30"/>
              <p:cNvSpPr>
                <a:spLocks/>
              </p:cNvSpPr>
              <p:nvPr/>
            </p:nvSpPr>
            <p:spPr bwMode="auto">
              <a:xfrm>
                <a:off x="4881" y="3188"/>
                <a:ext cx="81" cy="69"/>
              </a:xfrm>
              <a:custGeom>
                <a:avLst/>
                <a:gdLst>
                  <a:gd name="T0" fmla="*/ 6 w 7"/>
                  <a:gd name="T1" fmla="*/ 0 h 6"/>
                  <a:gd name="T2" fmla="*/ 6 w 7"/>
                  <a:gd name="T3" fmla="*/ 2 h 6"/>
                  <a:gd name="T4" fmla="*/ 3 w 7"/>
                  <a:gd name="T5" fmla="*/ 5 h 6"/>
                  <a:gd name="T6" fmla="*/ 0 w 7"/>
                  <a:gd name="T7" fmla="*/ 4 h 6"/>
                  <a:gd name="T8" fmla="*/ 3 w 7"/>
                  <a:gd name="T9" fmla="*/ 6 h 6"/>
                  <a:gd name="T10" fmla="*/ 7 w 7"/>
                  <a:gd name="T11" fmla="*/ 3 h 6"/>
                  <a:gd name="T12" fmla="*/ 6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6" y="0"/>
                    </a:moveTo>
                    <a:cubicBezTo>
                      <a:pt x="6" y="1"/>
                      <a:pt x="6" y="1"/>
                      <a:pt x="6" y="2"/>
                    </a:cubicBezTo>
                    <a:cubicBezTo>
                      <a:pt x="6" y="4"/>
                      <a:pt x="5" y="5"/>
                      <a:pt x="3" y="5"/>
                    </a:cubicBezTo>
                    <a:cubicBezTo>
                      <a:pt x="2" y="5"/>
                      <a:pt x="1" y="5"/>
                      <a:pt x="0" y="4"/>
                    </a:cubicBezTo>
                    <a:cubicBezTo>
                      <a:pt x="1" y="6"/>
                      <a:pt x="2" y="6"/>
                      <a:pt x="3" y="6"/>
                    </a:cubicBezTo>
                    <a:cubicBezTo>
                      <a:pt x="5" y="6"/>
                      <a:pt x="7" y="5"/>
                      <a:pt x="7" y="3"/>
                    </a:cubicBezTo>
                    <a:cubicBezTo>
                      <a:pt x="7" y="2"/>
                      <a:pt x="7" y="1"/>
                      <a:pt x="6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58" name="Freeform 31"/>
              <p:cNvSpPr>
                <a:spLocks/>
              </p:cNvSpPr>
              <p:nvPr/>
            </p:nvSpPr>
            <p:spPr bwMode="auto">
              <a:xfrm>
                <a:off x="4881" y="3015"/>
                <a:ext cx="81" cy="80"/>
              </a:xfrm>
              <a:custGeom>
                <a:avLst/>
                <a:gdLst>
                  <a:gd name="T0" fmla="*/ 4 w 7"/>
                  <a:gd name="T1" fmla="*/ 0 h 7"/>
                  <a:gd name="T2" fmla="*/ 0 w 7"/>
                  <a:gd name="T3" fmla="*/ 3 h 7"/>
                  <a:gd name="T4" fmla="*/ 4 w 7"/>
                  <a:gd name="T5" fmla="*/ 7 h 7"/>
                  <a:gd name="T6" fmla="*/ 7 w 7"/>
                  <a:gd name="T7" fmla="*/ 3 h 7"/>
                  <a:gd name="T8" fmla="*/ 4 w 7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4" y="0"/>
                    </a:moveTo>
                    <a:cubicBezTo>
                      <a:pt x="2" y="0"/>
                      <a:pt x="0" y="1"/>
                      <a:pt x="0" y="3"/>
                    </a:cubicBezTo>
                    <a:cubicBezTo>
                      <a:pt x="0" y="5"/>
                      <a:pt x="2" y="7"/>
                      <a:pt x="4" y="7"/>
                    </a:cubicBezTo>
                    <a:cubicBezTo>
                      <a:pt x="5" y="7"/>
                      <a:pt x="7" y="5"/>
                      <a:pt x="7" y="3"/>
                    </a:cubicBezTo>
                    <a:cubicBezTo>
                      <a:pt x="7" y="1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59" name="Freeform 32"/>
              <p:cNvSpPr>
                <a:spLocks/>
              </p:cNvSpPr>
              <p:nvPr/>
            </p:nvSpPr>
            <p:spPr bwMode="auto">
              <a:xfrm>
                <a:off x="4881" y="3026"/>
                <a:ext cx="81" cy="69"/>
              </a:xfrm>
              <a:custGeom>
                <a:avLst/>
                <a:gdLst>
                  <a:gd name="T0" fmla="*/ 6 w 7"/>
                  <a:gd name="T1" fmla="*/ 0 h 6"/>
                  <a:gd name="T2" fmla="*/ 6 w 7"/>
                  <a:gd name="T3" fmla="*/ 1 h 6"/>
                  <a:gd name="T4" fmla="*/ 3 w 7"/>
                  <a:gd name="T5" fmla="*/ 5 h 6"/>
                  <a:gd name="T6" fmla="*/ 0 w 7"/>
                  <a:gd name="T7" fmla="*/ 4 h 6"/>
                  <a:gd name="T8" fmla="*/ 4 w 7"/>
                  <a:gd name="T9" fmla="*/ 6 h 6"/>
                  <a:gd name="T10" fmla="*/ 7 w 7"/>
                  <a:gd name="T11" fmla="*/ 2 h 6"/>
                  <a:gd name="T12" fmla="*/ 6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6" y="0"/>
                    </a:moveTo>
                    <a:cubicBezTo>
                      <a:pt x="6" y="0"/>
                      <a:pt x="6" y="1"/>
                      <a:pt x="6" y="1"/>
                    </a:cubicBezTo>
                    <a:cubicBezTo>
                      <a:pt x="6" y="3"/>
                      <a:pt x="5" y="5"/>
                      <a:pt x="3" y="5"/>
                    </a:cubicBezTo>
                    <a:cubicBezTo>
                      <a:pt x="2" y="5"/>
                      <a:pt x="1" y="4"/>
                      <a:pt x="0" y="4"/>
                    </a:cubicBezTo>
                    <a:cubicBezTo>
                      <a:pt x="1" y="5"/>
                      <a:pt x="2" y="6"/>
                      <a:pt x="4" y="6"/>
                    </a:cubicBezTo>
                    <a:cubicBezTo>
                      <a:pt x="5" y="6"/>
                      <a:pt x="7" y="4"/>
                      <a:pt x="7" y="2"/>
                    </a:cubicBezTo>
                    <a:cubicBezTo>
                      <a:pt x="7" y="1"/>
                      <a:pt x="7" y="0"/>
                      <a:pt x="6" y="0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60" name="Freeform 33"/>
              <p:cNvSpPr>
                <a:spLocks/>
              </p:cNvSpPr>
              <p:nvPr/>
            </p:nvSpPr>
            <p:spPr bwMode="auto">
              <a:xfrm>
                <a:off x="4985" y="3038"/>
                <a:ext cx="58" cy="46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4 w 5"/>
                  <a:gd name="T19" fmla="*/ 2 h 4"/>
                  <a:gd name="T20" fmla="*/ 3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1"/>
                      <a:pt x="4" y="2"/>
                    </a:cubicBezTo>
                    <a:cubicBezTo>
                      <a:pt x="4" y="2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3"/>
                      <a:pt x="4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61" name="Freeform 34"/>
              <p:cNvSpPr>
                <a:spLocks/>
              </p:cNvSpPr>
              <p:nvPr/>
            </p:nvSpPr>
            <p:spPr bwMode="auto">
              <a:xfrm>
                <a:off x="4928" y="3038"/>
                <a:ext cx="57" cy="46"/>
              </a:xfrm>
              <a:custGeom>
                <a:avLst/>
                <a:gdLst>
                  <a:gd name="T0" fmla="*/ 1 w 5"/>
                  <a:gd name="T1" fmla="*/ 3 h 4"/>
                  <a:gd name="T2" fmla="*/ 1 w 5"/>
                  <a:gd name="T3" fmla="*/ 2 h 4"/>
                  <a:gd name="T4" fmla="*/ 1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1 w 5"/>
                  <a:gd name="T11" fmla="*/ 0 h 4"/>
                  <a:gd name="T12" fmla="*/ 0 w 5"/>
                  <a:gd name="T13" fmla="*/ 2 h 4"/>
                  <a:gd name="T14" fmla="*/ 1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1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1" y="3"/>
                    </a:move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62" name="Freeform 35"/>
              <p:cNvSpPr>
                <a:spLocks/>
              </p:cNvSpPr>
              <p:nvPr/>
            </p:nvSpPr>
            <p:spPr bwMode="auto">
              <a:xfrm>
                <a:off x="4985" y="3199"/>
                <a:ext cx="46" cy="46"/>
              </a:xfrm>
              <a:custGeom>
                <a:avLst/>
                <a:gdLst>
                  <a:gd name="T0" fmla="*/ 3 w 4"/>
                  <a:gd name="T1" fmla="*/ 0 h 4"/>
                  <a:gd name="T2" fmla="*/ 0 w 4"/>
                  <a:gd name="T3" fmla="*/ 0 h 4"/>
                  <a:gd name="T4" fmla="*/ 0 w 4"/>
                  <a:gd name="T5" fmla="*/ 1 h 4"/>
                  <a:gd name="T6" fmla="*/ 3 w 4"/>
                  <a:gd name="T7" fmla="*/ 1 h 4"/>
                  <a:gd name="T8" fmla="*/ 3 w 4"/>
                  <a:gd name="T9" fmla="*/ 2 h 4"/>
                  <a:gd name="T10" fmla="*/ 3 w 4"/>
                  <a:gd name="T11" fmla="*/ 3 h 4"/>
                  <a:gd name="T12" fmla="*/ 0 w 4"/>
                  <a:gd name="T13" fmla="*/ 3 h 4"/>
                  <a:gd name="T14" fmla="*/ 0 w 4"/>
                  <a:gd name="T15" fmla="*/ 4 h 4"/>
                  <a:gd name="T16" fmla="*/ 3 w 4"/>
                  <a:gd name="T17" fmla="*/ 4 h 4"/>
                  <a:gd name="T18" fmla="*/ 4 w 4"/>
                  <a:gd name="T19" fmla="*/ 2 h 4"/>
                  <a:gd name="T20" fmla="*/ 3 w 4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2"/>
                      <a:pt x="3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3"/>
                      <a:pt x="4" y="2"/>
                    </a:cubicBezTo>
                    <a:cubicBezTo>
                      <a:pt x="4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63" name="Freeform 36"/>
              <p:cNvSpPr>
                <a:spLocks/>
              </p:cNvSpPr>
              <p:nvPr/>
            </p:nvSpPr>
            <p:spPr bwMode="auto">
              <a:xfrm>
                <a:off x="4928" y="3199"/>
                <a:ext cx="57" cy="46"/>
              </a:xfrm>
              <a:custGeom>
                <a:avLst/>
                <a:gdLst>
                  <a:gd name="T0" fmla="*/ 1 w 5"/>
                  <a:gd name="T1" fmla="*/ 3 h 4"/>
                  <a:gd name="T2" fmla="*/ 1 w 5"/>
                  <a:gd name="T3" fmla="*/ 2 h 4"/>
                  <a:gd name="T4" fmla="*/ 1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1 w 5"/>
                  <a:gd name="T11" fmla="*/ 0 h 4"/>
                  <a:gd name="T12" fmla="*/ 0 w 5"/>
                  <a:gd name="T13" fmla="*/ 2 h 4"/>
                  <a:gd name="T14" fmla="*/ 1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1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1" y="3"/>
                    </a:moveTo>
                    <a:cubicBezTo>
                      <a:pt x="1" y="3"/>
                      <a:pt x="1" y="3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64" name="Freeform 37"/>
              <p:cNvSpPr>
                <a:spLocks/>
              </p:cNvSpPr>
              <p:nvPr/>
            </p:nvSpPr>
            <p:spPr bwMode="auto">
              <a:xfrm>
                <a:off x="4974" y="3372"/>
                <a:ext cx="57" cy="35"/>
              </a:xfrm>
              <a:custGeom>
                <a:avLst/>
                <a:gdLst>
                  <a:gd name="T0" fmla="*/ 4 w 5"/>
                  <a:gd name="T1" fmla="*/ 0 h 3"/>
                  <a:gd name="T2" fmla="*/ 0 w 5"/>
                  <a:gd name="T3" fmla="*/ 0 h 3"/>
                  <a:gd name="T4" fmla="*/ 0 w 5"/>
                  <a:gd name="T5" fmla="*/ 1 h 3"/>
                  <a:gd name="T6" fmla="*/ 4 w 5"/>
                  <a:gd name="T7" fmla="*/ 1 h 3"/>
                  <a:gd name="T8" fmla="*/ 4 w 5"/>
                  <a:gd name="T9" fmla="*/ 2 h 3"/>
                  <a:gd name="T10" fmla="*/ 4 w 5"/>
                  <a:gd name="T11" fmla="*/ 2 h 3"/>
                  <a:gd name="T12" fmla="*/ 0 w 5"/>
                  <a:gd name="T13" fmla="*/ 2 h 3"/>
                  <a:gd name="T14" fmla="*/ 0 w 5"/>
                  <a:gd name="T15" fmla="*/ 3 h 3"/>
                  <a:gd name="T16" fmla="*/ 4 w 5"/>
                  <a:gd name="T17" fmla="*/ 3 h 3"/>
                  <a:gd name="T18" fmla="*/ 5 w 5"/>
                  <a:gd name="T19" fmla="*/ 2 h 3"/>
                  <a:gd name="T20" fmla="*/ 4 w 5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3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2"/>
                    </a:cubicBezTo>
                    <a:cubicBezTo>
                      <a:pt x="5" y="0"/>
                      <a:pt x="5" y="0"/>
                      <a:pt x="4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65" name="Freeform 38"/>
              <p:cNvSpPr>
                <a:spLocks/>
              </p:cNvSpPr>
              <p:nvPr/>
            </p:nvSpPr>
            <p:spPr bwMode="auto">
              <a:xfrm>
                <a:off x="4928" y="3372"/>
                <a:ext cx="46" cy="35"/>
              </a:xfrm>
              <a:custGeom>
                <a:avLst/>
                <a:gdLst>
                  <a:gd name="T0" fmla="*/ 1 w 4"/>
                  <a:gd name="T1" fmla="*/ 2 h 3"/>
                  <a:gd name="T2" fmla="*/ 1 w 4"/>
                  <a:gd name="T3" fmla="*/ 2 h 3"/>
                  <a:gd name="T4" fmla="*/ 1 w 4"/>
                  <a:gd name="T5" fmla="*/ 1 h 3"/>
                  <a:gd name="T6" fmla="*/ 4 w 4"/>
                  <a:gd name="T7" fmla="*/ 1 h 3"/>
                  <a:gd name="T8" fmla="*/ 4 w 4"/>
                  <a:gd name="T9" fmla="*/ 0 h 3"/>
                  <a:gd name="T10" fmla="*/ 1 w 4"/>
                  <a:gd name="T11" fmla="*/ 0 h 3"/>
                  <a:gd name="T12" fmla="*/ 0 w 4"/>
                  <a:gd name="T13" fmla="*/ 2 h 3"/>
                  <a:gd name="T14" fmla="*/ 1 w 4"/>
                  <a:gd name="T15" fmla="*/ 3 h 3"/>
                  <a:gd name="T16" fmla="*/ 4 w 4"/>
                  <a:gd name="T17" fmla="*/ 3 h 3"/>
                  <a:gd name="T18" fmla="*/ 4 w 4"/>
                  <a:gd name="T19" fmla="*/ 2 h 3"/>
                  <a:gd name="T20" fmla="*/ 1 w 4"/>
                  <a:gd name="T2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3">
                    <a:moveTo>
                      <a:pt x="1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2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2"/>
                      <a:pt x="4" y="2"/>
                      <a:pt x="4" y="2"/>
                    </a:cubicBez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66" name="Freeform 39"/>
              <p:cNvSpPr>
                <a:spLocks/>
              </p:cNvSpPr>
              <p:nvPr/>
            </p:nvSpPr>
            <p:spPr bwMode="auto">
              <a:xfrm>
                <a:off x="4974" y="3534"/>
                <a:ext cx="57" cy="46"/>
              </a:xfrm>
              <a:custGeom>
                <a:avLst/>
                <a:gdLst>
                  <a:gd name="T0" fmla="*/ 4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4 w 5"/>
                  <a:gd name="T7" fmla="*/ 1 h 4"/>
                  <a:gd name="T8" fmla="*/ 4 w 5"/>
                  <a:gd name="T9" fmla="*/ 2 h 4"/>
                  <a:gd name="T10" fmla="*/ 4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4 w 5"/>
                  <a:gd name="T17" fmla="*/ 4 h 4"/>
                  <a:gd name="T18" fmla="*/ 5 w 5"/>
                  <a:gd name="T19" fmla="*/ 2 h 4"/>
                  <a:gd name="T20" fmla="*/ 4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3"/>
                      <a:pt x="4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67" name="Freeform 40"/>
              <p:cNvSpPr>
                <a:spLocks/>
              </p:cNvSpPr>
              <p:nvPr/>
            </p:nvSpPr>
            <p:spPr bwMode="auto">
              <a:xfrm>
                <a:off x="4928" y="3534"/>
                <a:ext cx="46" cy="46"/>
              </a:xfrm>
              <a:custGeom>
                <a:avLst/>
                <a:gdLst>
                  <a:gd name="T0" fmla="*/ 1 w 4"/>
                  <a:gd name="T1" fmla="*/ 3 h 4"/>
                  <a:gd name="T2" fmla="*/ 1 w 4"/>
                  <a:gd name="T3" fmla="*/ 2 h 4"/>
                  <a:gd name="T4" fmla="*/ 1 w 4"/>
                  <a:gd name="T5" fmla="*/ 1 h 4"/>
                  <a:gd name="T6" fmla="*/ 4 w 4"/>
                  <a:gd name="T7" fmla="*/ 1 h 4"/>
                  <a:gd name="T8" fmla="*/ 4 w 4"/>
                  <a:gd name="T9" fmla="*/ 0 h 4"/>
                  <a:gd name="T10" fmla="*/ 1 w 4"/>
                  <a:gd name="T11" fmla="*/ 0 h 4"/>
                  <a:gd name="T12" fmla="*/ 0 w 4"/>
                  <a:gd name="T13" fmla="*/ 2 h 4"/>
                  <a:gd name="T14" fmla="*/ 1 w 4"/>
                  <a:gd name="T15" fmla="*/ 4 h 4"/>
                  <a:gd name="T16" fmla="*/ 4 w 4"/>
                  <a:gd name="T17" fmla="*/ 4 h 4"/>
                  <a:gd name="T18" fmla="*/ 4 w 4"/>
                  <a:gd name="T19" fmla="*/ 3 h 4"/>
                  <a:gd name="T20" fmla="*/ 1 w 4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1" y="3"/>
                    </a:moveTo>
                    <a:cubicBezTo>
                      <a:pt x="1" y="3"/>
                      <a:pt x="0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68" name="Freeform 41"/>
              <p:cNvSpPr>
                <a:spLocks/>
              </p:cNvSpPr>
              <p:nvPr/>
            </p:nvSpPr>
            <p:spPr bwMode="auto">
              <a:xfrm>
                <a:off x="4974" y="3695"/>
                <a:ext cx="57" cy="46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5 w 5"/>
                  <a:gd name="T19" fmla="*/ 2 h 4"/>
                  <a:gd name="T20" fmla="*/ 3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69" name="Freeform 42"/>
              <p:cNvSpPr>
                <a:spLocks/>
              </p:cNvSpPr>
              <p:nvPr/>
            </p:nvSpPr>
            <p:spPr bwMode="auto">
              <a:xfrm>
                <a:off x="4916" y="3695"/>
                <a:ext cx="58" cy="46"/>
              </a:xfrm>
              <a:custGeom>
                <a:avLst/>
                <a:gdLst>
                  <a:gd name="T0" fmla="*/ 2 w 5"/>
                  <a:gd name="T1" fmla="*/ 3 h 4"/>
                  <a:gd name="T2" fmla="*/ 1 w 5"/>
                  <a:gd name="T3" fmla="*/ 2 h 4"/>
                  <a:gd name="T4" fmla="*/ 2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2 w 5"/>
                  <a:gd name="T11" fmla="*/ 0 h 4"/>
                  <a:gd name="T12" fmla="*/ 0 w 5"/>
                  <a:gd name="T13" fmla="*/ 2 h 4"/>
                  <a:gd name="T14" fmla="*/ 2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2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3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70" name="Freeform 43"/>
              <p:cNvSpPr>
                <a:spLocks/>
              </p:cNvSpPr>
              <p:nvPr/>
            </p:nvSpPr>
            <p:spPr bwMode="auto">
              <a:xfrm>
                <a:off x="4974" y="3868"/>
                <a:ext cx="57" cy="46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5 w 5"/>
                  <a:gd name="T19" fmla="*/ 2 h 4"/>
                  <a:gd name="T20" fmla="*/ 3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1"/>
                      <a:pt x="4" y="2"/>
                    </a:cubicBezTo>
                    <a:cubicBezTo>
                      <a:pt x="4" y="2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71" name="Freeform 44"/>
              <p:cNvSpPr>
                <a:spLocks/>
              </p:cNvSpPr>
              <p:nvPr/>
            </p:nvSpPr>
            <p:spPr bwMode="auto">
              <a:xfrm>
                <a:off x="4916" y="3868"/>
                <a:ext cx="58" cy="46"/>
              </a:xfrm>
              <a:custGeom>
                <a:avLst/>
                <a:gdLst>
                  <a:gd name="T0" fmla="*/ 2 w 5"/>
                  <a:gd name="T1" fmla="*/ 3 h 4"/>
                  <a:gd name="T2" fmla="*/ 1 w 5"/>
                  <a:gd name="T3" fmla="*/ 2 h 4"/>
                  <a:gd name="T4" fmla="*/ 2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2 w 5"/>
                  <a:gd name="T11" fmla="*/ 0 h 4"/>
                  <a:gd name="T12" fmla="*/ 0 w 5"/>
                  <a:gd name="T13" fmla="*/ 2 h 4"/>
                  <a:gd name="T14" fmla="*/ 2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2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3"/>
                    </a:move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72" name="Freeform 45"/>
              <p:cNvSpPr>
                <a:spLocks/>
              </p:cNvSpPr>
              <p:nvPr/>
            </p:nvSpPr>
            <p:spPr bwMode="auto">
              <a:xfrm>
                <a:off x="4974" y="4029"/>
                <a:ext cx="57" cy="47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5 w 5"/>
                  <a:gd name="T19" fmla="*/ 2 h 4"/>
                  <a:gd name="T20" fmla="*/ 3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2"/>
                      <a:pt x="4" y="2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73" name="Freeform 46"/>
              <p:cNvSpPr>
                <a:spLocks/>
              </p:cNvSpPr>
              <p:nvPr/>
            </p:nvSpPr>
            <p:spPr bwMode="auto">
              <a:xfrm>
                <a:off x="4916" y="4029"/>
                <a:ext cx="58" cy="47"/>
              </a:xfrm>
              <a:custGeom>
                <a:avLst/>
                <a:gdLst>
                  <a:gd name="T0" fmla="*/ 2 w 5"/>
                  <a:gd name="T1" fmla="*/ 3 h 4"/>
                  <a:gd name="T2" fmla="*/ 1 w 5"/>
                  <a:gd name="T3" fmla="*/ 2 h 4"/>
                  <a:gd name="T4" fmla="*/ 2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2 w 5"/>
                  <a:gd name="T11" fmla="*/ 0 h 4"/>
                  <a:gd name="T12" fmla="*/ 0 w 5"/>
                  <a:gd name="T13" fmla="*/ 2 h 4"/>
                  <a:gd name="T14" fmla="*/ 2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2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3"/>
                    </a:moveTo>
                    <a:cubicBezTo>
                      <a:pt x="1" y="3"/>
                      <a:pt x="1" y="3"/>
                      <a:pt x="1" y="2"/>
                    </a:cubicBezTo>
                    <a:cubicBezTo>
                      <a:pt x="1" y="2"/>
                      <a:pt x="1" y="1"/>
                      <a:pt x="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74" name="Freeform 47"/>
              <p:cNvSpPr>
                <a:spLocks/>
              </p:cNvSpPr>
              <p:nvPr/>
            </p:nvSpPr>
            <p:spPr bwMode="auto">
              <a:xfrm>
                <a:off x="4974" y="4202"/>
                <a:ext cx="46" cy="46"/>
              </a:xfrm>
              <a:custGeom>
                <a:avLst/>
                <a:gdLst>
                  <a:gd name="T0" fmla="*/ 3 w 4"/>
                  <a:gd name="T1" fmla="*/ 0 h 4"/>
                  <a:gd name="T2" fmla="*/ 0 w 4"/>
                  <a:gd name="T3" fmla="*/ 0 h 4"/>
                  <a:gd name="T4" fmla="*/ 0 w 4"/>
                  <a:gd name="T5" fmla="*/ 1 h 4"/>
                  <a:gd name="T6" fmla="*/ 3 w 4"/>
                  <a:gd name="T7" fmla="*/ 1 h 4"/>
                  <a:gd name="T8" fmla="*/ 3 w 4"/>
                  <a:gd name="T9" fmla="*/ 2 h 4"/>
                  <a:gd name="T10" fmla="*/ 3 w 4"/>
                  <a:gd name="T11" fmla="*/ 3 h 4"/>
                  <a:gd name="T12" fmla="*/ 0 w 4"/>
                  <a:gd name="T13" fmla="*/ 3 h 4"/>
                  <a:gd name="T14" fmla="*/ 0 w 4"/>
                  <a:gd name="T15" fmla="*/ 4 h 4"/>
                  <a:gd name="T16" fmla="*/ 3 w 4"/>
                  <a:gd name="T17" fmla="*/ 4 h 4"/>
                  <a:gd name="T18" fmla="*/ 4 w 4"/>
                  <a:gd name="T19" fmla="*/ 2 h 4"/>
                  <a:gd name="T20" fmla="*/ 3 w 4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2"/>
                    </a:cubicBezTo>
                    <a:cubicBezTo>
                      <a:pt x="3" y="2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3"/>
                      <a:pt x="4" y="2"/>
                    </a:cubicBezTo>
                    <a:cubicBezTo>
                      <a:pt x="4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75" name="Freeform 48"/>
              <p:cNvSpPr>
                <a:spLocks/>
              </p:cNvSpPr>
              <p:nvPr/>
            </p:nvSpPr>
            <p:spPr bwMode="auto">
              <a:xfrm>
                <a:off x="4916" y="4202"/>
                <a:ext cx="58" cy="46"/>
              </a:xfrm>
              <a:custGeom>
                <a:avLst/>
                <a:gdLst>
                  <a:gd name="T0" fmla="*/ 1 w 5"/>
                  <a:gd name="T1" fmla="*/ 3 h 4"/>
                  <a:gd name="T2" fmla="*/ 1 w 5"/>
                  <a:gd name="T3" fmla="*/ 2 h 4"/>
                  <a:gd name="T4" fmla="*/ 1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1 w 5"/>
                  <a:gd name="T11" fmla="*/ 0 h 4"/>
                  <a:gd name="T12" fmla="*/ 0 w 5"/>
                  <a:gd name="T13" fmla="*/ 2 h 4"/>
                  <a:gd name="T14" fmla="*/ 1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1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1" y="3"/>
                    </a:move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76" name="Freeform 49"/>
              <p:cNvSpPr>
                <a:spLocks/>
              </p:cNvSpPr>
              <p:nvPr/>
            </p:nvSpPr>
            <p:spPr bwMode="auto">
              <a:xfrm>
                <a:off x="4974" y="4364"/>
                <a:ext cx="46" cy="46"/>
              </a:xfrm>
              <a:custGeom>
                <a:avLst/>
                <a:gdLst>
                  <a:gd name="T0" fmla="*/ 3 w 4"/>
                  <a:gd name="T1" fmla="*/ 0 h 4"/>
                  <a:gd name="T2" fmla="*/ 0 w 4"/>
                  <a:gd name="T3" fmla="*/ 0 h 4"/>
                  <a:gd name="T4" fmla="*/ 0 w 4"/>
                  <a:gd name="T5" fmla="*/ 1 h 4"/>
                  <a:gd name="T6" fmla="*/ 3 w 4"/>
                  <a:gd name="T7" fmla="*/ 1 h 4"/>
                  <a:gd name="T8" fmla="*/ 3 w 4"/>
                  <a:gd name="T9" fmla="*/ 2 h 4"/>
                  <a:gd name="T10" fmla="*/ 3 w 4"/>
                  <a:gd name="T11" fmla="*/ 3 h 4"/>
                  <a:gd name="T12" fmla="*/ 0 w 4"/>
                  <a:gd name="T13" fmla="*/ 3 h 4"/>
                  <a:gd name="T14" fmla="*/ 0 w 4"/>
                  <a:gd name="T15" fmla="*/ 4 h 4"/>
                  <a:gd name="T16" fmla="*/ 3 w 4"/>
                  <a:gd name="T17" fmla="*/ 4 h 4"/>
                  <a:gd name="T18" fmla="*/ 4 w 4"/>
                  <a:gd name="T19" fmla="*/ 2 h 4"/>
                  <a:gd name="T20" fmla="*/ 3 w 4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2"/>
                      <a:pt x="3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3"/>
                      <a:pt x="4" y="2"/>
                    </a:cubicBezTo>
                    <a:cubicBezTo>
                      <a:pt x="4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77" name="Freeform 50"/>
              <p:cNvSpPr>
                <a:spLocks/>
              </p:cNvSpPr>
              <p:nvPr/>
            </p:nvSpPr>
            <p:spPr bwMode="auto">
              <a:xfrm>
                <a:off x="4916" y="4364"/>
                <a:ext cx="58" cy="46"/>
              </a:xfrm>
              <a:custGeom>
                <a:avLst/>
                <a:gdLst>
                  <a:gd name="T0" fmla="*/ 1 w 5"/>
                  <a:gd name="T1" fmla="*/ 3 h 4"/>
                  <a:gd name="T2" fmla="*/ 1 w 5"/>
                  <a:gd name="T3" fmla="*/ 2 h 4"/>
                  <a:gd name="T4" fmla="*/ 1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1 w 5"/>
                  <a:gd name="T11" fmla="*/ 0 h 4"/>
                  <a:gd name="T12" fmla="*/ 0 w 5"/>
                  <a:gd name="T13" fmla="*/ 2 h 4"/>
                  <a:gd name="T14" fmla="*/ 1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1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1" y="3"/>
                    </a:moveTo>
                    <a:cubicBezTo>
                      <a:pt x="1" y="3"/>
                      <a:pt x="1" y="3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78" name="Freeform 51"/>
              <p:cNvSpPr>
                <a:spLocks/>
              </p:cNvSpPr>
              <p:nvPr/>
            </p:nvSpPr>
            <p:spPr bwMode="auto">
              <a:xfrm>
                <a:off x="4916" y="4537"/>
                <a:ext cx="46" cy="46"/>
              </a:xfrm>
              <a:custGeom>
                <a:avLst/>
                <a:gdLst>
                  <a:gd name="T0" fmla="*/ 1 w 4"/>
                  <a:gd name="T1" fmla="*/ 3 h 4"/>
                  <a:gd name="T2" fmla="*/ 1 w 4"/>
                  <a:gd name="T3" fmla="*/ 2 h 4"/>
                  <a:gd name="T4" fmla="*/ 1 w 4"/>
                  <a:gd name="T5" fmla="*/ 1 h 4"/>
                  <a:gd name="T6" fmla="*/ 4 w 4"/>
                  <a:gd name="T7" fmla="*/ 1 h 4"/>
                  <a:gd name="T8" fmla="*/ 4 w 4"/>
                  <a:gd name="T9" fmla="*/ 0 h 4"/>
                  <a:gd name="T10" fmla="*/ 1 w 4"/>
                  <a:gd name="T11" fmla="*/ 0 h 4"/>
                  <a:gd name="T12" fmla="*/ 0 w 4"/>
                  <a:gd name="T13" fmla="*/ 2 h 4"/>
                  <a:gd name="T14" fmla="*/ 1 w 4"/>
                  <a:gd name="T15" fmla="*/ 4 h 4"/>
                  <a:gd name="T16" fmla="*/ 4 w 4"/>
                  <a:gd name="T17" fmla="*/ 4 h 4"/>
                  <a:gd name="T18" fmla="*/ 4 w 4"/>
                  <a:gd name="T19" fmla="*/ 3 h 4"/>
                  <a:gd name="T20" fmla="*/ 1 w 4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1" y="3"/>
                    </a:move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79" name="Freeform 52"/>
              <p:cNvSpPr>
                <a:spLocks/>
              </p:cNvSpPr>
              <p:nvPr/>
            </p:nvSpPr>
            <p:spPr bwMode="auto">
              <a:xfrm>
                <a:off x="4962" y="4537"/>
                <a:ext cx="58" cy="46"/>
              </a:xfrm>
              <a:custGeom>
                <a:avLst/>
                <a:gdLst>
                  <a:gd name="T0" fmla="*/ 4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4 w 5"/>
                  <a:gd name="T7" fmla="*/ 1 h 4"/>
                  <a:gd name="T8" fmla="*/ 4 w 5"/>
                  <a:gd name="T9" fmla="*/ 2 h 4"/>
                  <a:gd name="T10" fmla="*/ 4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4 w 5"/>
                  <a:gd name="T17" fmla="*/ 4 h 4"/>
                  <a:gd name="T18" fmla="*/ 5 w 5"/>
                  <a:gd name="T19" fmla="*/ 2 h 4"/>
                  <a:gd name="T20" fmla="*/ 4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3"/>
                      <a:pt x="4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80" name="Freeform 53"/>
              <p:cNvSpPr>
                <a:spLocks/>
              </p:cNvSpPr>
              <p:nvPr/>
            </p:nvSpPr>
            <p:spPr bwMode="auto">
              <a:xfrm>
                <a:off x="4904" y="4698"/>
                <a:ext cx="58" cy="46"/>
              </a:xfrm>
              <a:custGeom>
                <a:avLst/>
                <a:gdLst>
                  <a:gd name="T0" fmla="*/ 2 w 5"/>
                  <a:gd name="T1" fmla="*/ 3 h 4"/>
                  <a:gd name="T2" fmla="*/ 1 w 5"/>
                  <a:gd name="T3" fmla="*/ 2 h 4"/>
                  <a:gd name="T4" fmla="*/ 2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2 w 5"/>
                  <a:gd name="T11" fmla="*/ 0 h 4"/>
                  <a:gd name="T12" fmla="*/ 0 w 5"/>
                  <a:gd name="T13" fmla="*/ 2 h 4"/>
                  <a:gd name="T14" fmla="*/ 2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2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3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81" name="Freeform 54"/>
              <p:cNvSpPr>
                <a:spLocks/>
              </p:cNvSpPr>
              <p:nvPr/>
            </p:nvSpPr>
            <p:spPr bwMode="auto">
              <a:xfrm>
                <a:off x="4962" y="4698"/>
                <a:ext cx="58" cy="46"/>
              </a:xfrm>
              <a:custGeom>
                <a:avLst/>
                <a:gdLst>
                  <a:gd name="T0" fmla="*/ 4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5 w 5"/>
                  <a:gd name="T19" fmla="*/ 2 h 4"/>
                  <a:gd name="T20" fmla="*/ 4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82" name="Rectangle 55"/>
              <p:cNvSpPr>
                <a:spLocks noChangeArrowheads="1"/>
              </p:cNvSpPr>
              <p:nvPr/>
            </p:nvSpPr>
            <p:spPr bwMode="auto">
              <a:xfrm>
                <a:off x="3567" y="3165"/>
                <a:ext cx="1291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83" name="Rectangle 56"/>
              <p:cNvSpPr>
                <a:spLocks noChangeArrowheads="1"/>
              </p:cNvSpPr>
              <p:nvPr/>
            </p:nvSpPr>
            <p:spPr bwMode="auto">
              <a:xfrm>
                <a:off x="3567" y="3245"/>
                <a:ext cx="1291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84" name="Freeform 57"/>
              <p:cNvSpPr>
                <a:spLocks/>
              </p:cNvSpPr>
              <p:nvPr/>
            </p:nvSpPr>
            <p:spPr bwMode="auto">
              <a:xfrm>
                <a:off x="3567" y="3314"/>
                <a:ext cx="1291" cy="12"/>
              </a:xfrm>
              <a:custGeom>
                <a:avLst/>
                <a:gdLst>
                  <a:gd name="T0" fmla="*/ 0 w 1291"/>
                  <a:gd name="T1" fmla="*/ 12 h 12"/>
                  <a:gd name="T2" fmla="*/ 0 w 1291"/>
                  <a:gd name="T3" fmla="*/ 12 h 12"/>
                  <a:gd name="T4" fmla="*/ 1291 w 1291"/>
                  <a:gd name="T5" fmla="*/ 12 h 12"/>
                  <a:gd name="T6" fmla="*/ 1291 w 1291"/>
                  <a:gd name="T7" fmla="*/ 0 h 12"/>
                  <a:gd name="T8" fmla="*/ 0 w 1291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1" h="12">
                    <a:moveTo>
                      <a:pt x="0" y="12"/>
                    </a:moveTo>
                    <a:lnTo>
                      <a:pt x="0" y="12"/>
                    </a:lnTo>
                    <a:lnTo>
                      <a:pt x="1291" y="12"/>
                    </a:lnTo>
                    <a:lnTo>
                      <a:pt x="1291" y="0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85" name="Rectangle 58"/>
              <p:cNvSpPr>
                <a:spLocks noChangeArrowheads="1"/>
              </p:cNvSpPr>
              <p:nvPr/>
            </p:nvSpPr>
            <p:spPr bwMode="auto">
              <a:xfrm>
                <a:off x="3567" y="3395"/>
                <a:ext cx="1291" cy="12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86" name="Rectangle 59"/>
              <p:cNvSpPr>
                <a:spLocks noChangeArrowheads="1"/>
              </p:cNvSpPr>
              <p:nvPr/>
            </p:nvSpPr>
            <p:spPr bwMode="auto">
              <a:xfrm>
                <a:off x="3567" y="3476"/>
                <a:ext cx="1291" cy="1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87" name="Rectangle 60"/>
              <p:cNvSpPr>
                <a:spLocks noChangeArrowheads="1"/>
              </p:cNvSpPr>
              <p:nvPr/>
            </p:nvSpPr>
            <p:spPr bwMode="auto">
              <a:xfrm>
                <a:off x="3567" y="3557"/>
                <a:ext cx="1280" cy="1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88" name="Freeform 61"/>
              <p:cNvSpPr>
                <a:spLocks/>
              </p:cNvSpPr>
              <p:nvPr/>
            </p:nvSpPr>
            <p:spPr bwMode="auto">
              <a:xfrm>
                <a:off x="3567" y="3637"/>
                <a:ext cx="1280" cy="12"/>
              </a:xfrm>
              <a:custGeom>
                <a:avLst/>
                <a:gdLst>
                  <a:gd name="T0" fmla="*/ 0 w 1280"/>
                  <a:gd name="T1" fmla="*/ 0 h 12"/>
                  <a:gd name="T2" fmla="*/ 0 w 1280"/>
                  <a:gd name="T3" fmla="*/ 12 h 12"/>
                  <a:gd name="T4" fmla="*/ 1280 w 1280"/>
                  <a:gd name="T5" fmla="*/ 0 h 12"/>
                  <a:gd name="T6" fmla="*/ 1280 w 1280"/>
                  <a:gd name="T7" fmla="*/ 0 h 12"/>
                  <a:gd name="T8" fmla="*/ 0 w 1280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0" h="12">
                    <a:moveTo>
                      <a:pt x="0" y="0"/>
                    </a:moveTo>
                    <a:lnTo>
                      <a:pt x="0" y="12"/>
                    </a:lnTo>
                    <a:lnTo>
                      <a:pt x="1280" y="0"/>
                    </a:lnTo>
                    <a:lnTo>
                      <a:pt x="128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89" name="Rectangle 62"/>
              <p:cNvSpPr>
                <a:spLocks noChangeArrowheads="1"/>
              </p:cNvSpPr>
              <p:nvPr/>
            </p:nvSpPr>
            <p:spPr bwMode="auto">
              <a:xfrm>
                <a:off x="3567" y="3718"/>
                <a:ext cx="1280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90" name="Rectangle 63"/>
              <p:cNvSpPr>
                <a:spLocks noChangeArrowheads="1"/>
              </p:cNvSpPr>
              <p:nvPr/>
            </p:nvSpPr>
            <p:spPr bwMode="auto">
              <a:xfrm>
                <a:off x="3567" y="3799"/>
                <a:ext cx="1280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91" name="Rectangle 64"/>
              <p:cNvSpPr>
                <a:spLocks noChangeArrowheads="1"/>
              </p:cNvSpPr>
              <p:nvPr/>
            </p:nvSpPr>
            <p:spPr bwMode="auto">
              <a:xfrm>
                <a:off x="3567" y="3879"/>
                <a:ext cx="1280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92" name="Rectangle 65"/>
              <p:cNvSpPr>
                <a:spLocks noChangeArrowheads="1"/>
              </p:cNvSpPr>
              <p:nvPr/>
            </p:nvSpPr>
            <p:spPr bwMode="auto">
              <a:xfrm>
                <a:off x="3555" y="3960"/>
                <a:ext cx="1292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93" name="Rectangle 66"/>
              <p:cNvSpPr>
                <a:spLocks noChangeArrowheads="1"/>
              </p:cNvSpPr>
              <p:nvPr/>
            </p:nvSpPr>
            <p:spPr bwMode="auto">
              <a:xfrm>
                <a:off x="3555" y="4041"/>
                <a:ext cx="1292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94" name="Rectangle 67"/>
              <p:cNvSpPr>
                <a:spLocks noChangeArrowheads="1"/>
              </p:cNvSpPr>
              <p:nvPr/>
            </p:nvSpPr>
            <p:spPr bwMode="auto">
              <a:xfrm>
                <a:off x="3555" y="4122"/>
                <a:ext cx="1292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95" name="Rectangle 68"/>
              <p:cNvSpPr>
                <a:spLocks noChangeArrowheads="1"/>
              </p:cNvSpPr>
              <p:nvPr/>
            </p:nvSpPr>
            <p:spPr bwMode="auto">
              <a:xfrm>
                <a:off x="3555" y="4202"/>
                <a:ext cx="1292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96" name="Rectangle 69"/>
              <p:cNvSpPr>
                <a:spLocks noChangeArrowheads="1"/>
              </p:cNvSpPr>
              <p:nvPr/>
            </p:nvSpPr>
            <p:spPr bwMode="auto">
              <a:xfrm>
                <a:off x="3555" y="4283"/>
                <a:ext cx="1292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97" name="Rectangle 70"/>
              <p:cNvSpPr>
                <a:spLocks noChangeArrowheads="1"/>
              </p:cNvSpPr>
              <p:nvPr/>
            </p:nvSpPr>
            <p:spPr bwMode="auto">
              <a:xfrm>
                <a:off x="3555" y="4352"/>
                <a:ext cx="1292" cy="12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98" name="Rectangle 71"/>
              <p:cNvSpPr>
                <a:spLocks noChangeArrowheads="1"/>
              </p:cNvSpPr>
              <p:nvPr/>
            </p:nvSpPr>
            <p:spPr bwMode="auto">
              <a:xfrm>
                <a:off x="3555" y="4433"/>
                <a:ext cx="1292" cy="12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399" name="Rectangle 72"/>
              <p:cNvSpPr>
                <a:spLocks noChangeArrowheads="1"/>
              </p:cNvSpPr>
              <p:nvPr/>
            </p:nvSpPr>
            <p:spPr bwMode="auto">
              <a:xfrm>
                <a:off x="3555" y="4514"/>
                <a:ext cx="1292" cy="1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0" name="Freeform 73"/>
              <p:cNvSpPr>
                <a:spLocks/>
              </p:cNvSpPr>
              <p:nvPr/>
            </p:nvSpPr>
            <p:spPr bwMode="auto">
              <a:xfrm>
                <a:off x="3555" y="4594"/>
                <a:ext cx="1292" cy="12"/>
              </a:xfrm>
              <a:custGeom>
                <a:avLst/>
                <a:gdLst>
                  <a:gd name="T0" fmla="*/ 0 w 1292"/>
                  <a:gd name="T1" fmla="*/ 0 h 12"/>
                  <a:gd name="T2" fmla="*/ 0 w 1292"/>
                  <a:gd name="T3" fmla="*/ 12 h 12"/>
                  <a:gd name="T4" fmla="*/ 1292 w 1292"/>
                  <a:gd name="T5" fmla="*/ 0 h 12"/>
                  <a:gd name="T6" fmla="*/ 1292 w 1292"/>
                  <a:gd name="T7" fmla="*/ 0 h 12"/>
                  <a:gd name="T8" fmla="*/ 0 w 1292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2" h="12">
                    <a:moveTo>
                      <a:pt x="0" y="0"/>
                    </a:moveTo>
                    <a:lnTo>
                      <a:pt x="0" y="12"/>
                    </a:lnTo>
                    <a:lnTo>
                      <a:pt x="1292" y="0"/>
                    </a:lnTo>
                    <a:lnTo>
                      <a:pt x="129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1" name="Rectangle 74"/>
              <p:cNvSpPr>
                <a:spLocks noChangeArrowheads="1"/>
              </p:cNvSpPr>
              <p:nvPr/>
            </p:nvSpPr>
            <p:spPr bwMode="auto">
              <a:xfrm>
                <a:off x="3555" y="4675"/>
                <a:ext cx="1280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2" name="Rectangle 75"/>
              <p:cNvSpPr>
                <a:spLocks noChangeArrowheads="1"/>
              </p:cNvSpPr>
              <p:nvPr/>
            </p:nvSpPr>
            <p:spPr bwMode="auto">
              <a:xfrm>
                <a:off x="3798" y="4756"/>
                <a:ext cx="1037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3" name="Freeform 76"/>
              <p:cNvSpPr>
                <a:spLocks/>
              </p:cNvSpPr>
              <p:nvPr/>
            </p:nvSpPr>
            <p:spPr bwMode="auto">
              <a:xfrm>
                <a:off x="6565" y="2807"/>
                <a:ext cx="150" cy="519"/>
              </a:xfrm>
              <a:custGeom>
                <a:avLst/>
                <a:gdLst>
                  <a:gd name="T0" fmla="*/ 13 w 13"/>
                  <a:gd name="T1" fmla="*/ 8 h 45"/>
                  <a:gd name="T2" fmla="*/ 4 w 13"/>
                  <a:gd name="T3" fmla="*/ 0 h 45"/>
                  <a:gd name="T4" fmla="*/ 1 w 13"/>
                  <a:gd name="T5" fmla="*/ 0 h 45"/>
                  <a:gd name="T6" fmla="*/ 0 w 13"/>
                  <a:gd name="T7" fmla="*/ 45 h 45"/>
                  <a:gd name="T8" fmla="*/ 4 w 13"/>
                  <a:gd name="T9" fmla="*/ 45 h 45"/>
                  <a:gd name="T10" fmla="*/ 13 w 13"/>
                  <a:gd name="T11" fmla="*/ 37 h 45"/>
                  <a:gd name="T12" fmla="*/ 13 w 13"/>
                  <a:gd name="T13" fmla="*/ 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5">
                    <a:moveTo>
                      <a:pt x="13" y="8"/>
                    </a:moveTo>
                    <a:cubicBezTo>
                      <a:pt x="13" y="4"/>
                      <a:pt x="9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9" y="45"/>
                      <a:pt x="13" y="41"/>
                      <a:pt x="13" y="37"/>
                    </a:cubicBezTo>
                    <a:lnTo>
                      <a:pt x="13" y="8"/>
                    </a:lnTo>
                    <a:close/>
                  </a:path>
                </a:pathLst>
              </a:custGeom>
              <a:solidFill>
                <a:srgbClr val="007C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4" name="Freeform 77"/>
              <p:cNvSpPr>
                <a:spLocks/>
              </p:cNvSpPr>
              <p:nvPr/>
            </p:nvSpPr>
            <p:spPr bwMode="auto">
              <a:xfrm>
                <a:off x="6565" y="3176"/>
                <a:ext cx="150" cy="519"/>
              </a:xfrm>
              <a:custGeom>
                <a:avLst/>
                <a:gdLst>
                  <a:gd name="T0" fmla="*/ 13 w 13"/>
                  <a:gd name="T1" fmla="*/ 8 h 45"/>
                  <a:gd name="T2" fmla="*/ 4 w 13"/>
                  <a:gd name="T3" fmla="*/ 0 h 45"/>
                  <a:gd name="T4" fmla="*/ 0 w 13"/>
                  <a:gd name="T5" fmla="*/ 0 h 45"/>
                  <a:gd name="T6" fmla="*/ 0 w 13"/>
                  <a:gd name="T7" fmla="*/ 45 h 45"/>
                  <a:gd name="T8" fmla="*/ 3 w 13"/>
                  <a:gd name="T9" fmla="*/ 45 h 45"/>
                  <a:gd name="T10" fmla="*/ 13 w 13"/>
                  <a:gd name="T11" fmla="*/ 37 h 45"/>
                  <a:gd name="T12" fmla="*/ 13 w 13"/>
                  <a:gd name="T13" fmla="*/ 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5">
                    <a:moveTo>
                      <a:pt x="13" y="8"/>
                    </a:moveTo>
                    <a:cubicBezTo>
                      <a:pt x="13" y="4"/>
                      <a:pt x="9" y="0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8" y="45"/>
                      <a:pt x="13" y="41"/>
                      <a:pt x="13" y="37"/>
                    </a:cubicBezTo>
                    <a:lnTo>
                      <a:pt x="13" y="8"/>
                    </a:lnTo>
                    <a:close/>
                  </a:path>
                </a:pathLst>
              </a:custGeom>
              <a:solidFill>
                <a:srgbClr val="EF45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5" name="Freeform 78"/>
              <p:cNvSpPr>
                <a:spLocks/>
              </p:cNvSpPr>
              <p:nvPr/>
            </p:nvSpPr>
            <p:spPr bwMode="auto">
              <a:xfrm>
                <a:off x="6565" y="3545"/>
                <a:ext cx="150" cy="519"/>
              </a:xfrm>
              <a:custGeom>
                <a:avLst/>
                <a:gdLst>
                  <a:gd name="T0" fmla="*/ 13 w 13"/>
                  <a:gd name="T1" fmla="*/ 8 h 45"/>
                  <a:gd name="T2" fmla="*/ 3 w 13"/>
                  <a:gd name="T3" fmla="*/ 0 h 45"/>
                  <a:gd name="T4" fmla="*/ 0 w 13"/>
                  <a:gd name="T5" fmla="*/ 0 h 45"/>
                  <a:gd name="T6" fmla="*/ 0 w 13"/>
                  <a:gd name="T7" fmla="*/ 45 h 45"/>
                  <a:gd name="T8" fmla="*/ 3 w 13"/>
                  <a:gd name="T9" fmla="*/ 45 h 45"/>
                  <a:gd name="T10" fmla="*/ 12 w 13"/>
                  <a:gd name="T11" fmla="*/ 36 h 45"/>
                  <a:gd name="T12" fmla="*/ 13 w 13"/>
                  <a:gd name="T13" fmla="*/ 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5">
                    <a:moveTo>
                      <a:pt x="13" y="8"/>
                    </a:moveTo>
                    <a:cubicBezTo>
                      <a:pt x="13" y="3"/>
                      <a:pt x="9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8" y="45"/>
                      <a:pt x="12" y="41"/>
                      <a:pt x="12" y="36"/>
                    </a:cubicBezTo>
                    <a:lnTo>
                      <a:pt x="13" y="8"/>
                    </a:lnTo>
                    <a:close/>
                  </a:path>
                </a:pathLst>
              </a:custGeom>
              <a:solidFill>
                <a:srgbClr val="F8BF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6" name="Freeform 79"/>
              <p:cNvSpPr>
                <a:spLocks/>
              </p:cNvSpPr>
              <p:nvPr/>
            </p:nvSpPr>
            <p:spPr bwMode="auto">
              <a:xfrm>
                <a:off x="4997" y="2807"/>
                <a:ext cx="1602" cy="2249"/>
              </a:xfrm>
              <a:custGeom>
                <a:avLst/>
                <a:gdLst>
                  <a:gd name="T0" fmla="*/ 23 w 1602"/>
                  <a:gd name="T1" fmla="*/ 0 h 2249"/>
                  <a:gd name="T2" fmla="*/ 0 w 1602"/>
                  <a:gd name="T3" fmla="*/ 2249 h 2249"/>
                  <a:gd name="T4" fmla="*/ 1579 w 1602"/>
                  <a:gd name="T5" fmla="*/ 2249 h 2249"/>
                  <a:gd name="T6" fmla="*/ 1602 w 1602"/>
                  <a:gd name="T7" fmla="*/ 0 h 2249"/>
                  <a:gd name="T8" fmla="*/ 23 w 1602"/>
                  <a:gd name="T9" fmla="*/ 0 h 2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2" h="2249">
                    <a:moveTo>
                      <a:pt x="23" y="0"/>
                    </a:moveTo>
                    <a:lnTo>
                      <a:pt x="0" y="2249"/>
                    </a:lnTo>
                    <a:lnTo>
                      <a:pt x="1579" y="2249"/>
                    </a:lnTo>
                    <a:lnTo>
                      <a:pt x="1602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BBC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7" name="Freeform 80"/>
              <p:cNvSpPr>
                <a:spLocks/>
              </p:cNvSpPr>
              <p:nvPr/>
            </p:nvSpPr>
            <p:spPr bwMode="auto">
              <a:xfrm>
                <a:off x="4997" y="2807"/>
                <a:ext cx="1602" cy="2249"/>
              </a:xfrm>
              <a:custGeom>
                <a:avLst/>
                <a:gdLst>
                  <a:gd name="T0" fmla="*/ 23 w 1602"/>
                  <a:gd name="T1" fmla="*/ 0 h 2249"/>
                  <a:gd name="T2" fmla="*/ 0 w 1602"/>
                  <a:gd name="T3" fmla="*/ 2249 h 2249"/>
                  <a:gd name="T4" fmla="*/ 1579 w 1602"/>
                  <a:gd name="T5" fmla="*/ 2249 h 2249"/>
                  <a:gd name="T6" fmla="*/ 1602 w 1602"/>
                  <a:gd name="T7" fmla="*/ 0 h 2249"/>
                  <a:gd name="T8" fmla="*/ 23 w 1602"/>
                  <a:gd name="T9" fmla="*/ 0 h 2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02" h="2249">
                    <a:moveTo>
                      <a:pt x="23" y="0"/>
                    </a:moveTo>
                    <a:lnTo>
                      <a:pt x="0" y="2249"/>
                    </a:lnTo>
                    <a:lnTo>
                      <a:pt x="1579" y="2249"/>
                    </a:lnTo>
                    <a:lnTo>
                      <a:pt x="1602" y="0"/>
                    </a:lnTo>
                    <a:lnTo>
                      <a:pt x="2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8" name="Freeform 81"/>
              <p:cNvSpPr>
                <a:spLocks/>
              </p:cNvSpPr>
              <p:nvPr/>
            </p:nvSpPr>
            <p:spPr bwMode="auto">
              <a:xfrm>
                <a:off x="4997" y="2807"/>
                <a:ext cx="1602" cy="2249"/>
              </a:xfrm>
              <a:custGeom>
                <a:avLst/>
                <a:gdLst>
                  <a:gd name="T0" fmla="*/ 23 w 1602"/>
                  <a:gd name="T1" fmla="*/ 0 h 2249"/>
                  <a:gd name="T2" fmla="*/ 0 w 1602"/>
                  <a:gd name="T3" fmla="*/ 2249 h 2249"/>
                  <a:gd name="T4" fmla="*/ 1164 w 1602"/>
                  <a:gd name="T5" fmla="*/ 2249 h 2249"/>
                  <a:gd name="T6" fmla="*/ 1579 w 1602"/>
                  <a:gd name="T7" fmla="*/ 1972 h 2249"/>
                  <a:gd name="T8" fmla="*/ 1602 w 1602"/>
                  <a:gd name="T9" fmla="*/ 0 h 2249"/>
                  <a:gd name="T10" fmla="*/ 23 w 1602"/>
                  <a:gd name="T11" fmla="*/ 0 h 2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02" h="2249">
                    <a:moveTo>
                      <a:pt x="23" y="0"/>
                    </a:moveTo>
                    <a:lnTo>
                      <a:pt x="0" y="2249"/>
                    </a:lnTo>
                    <a:lnTo>
                      <a:pt x="1164" y="2249"/>
                    </a:lnTo>
                    <a:lnTo>
                      <a:pt x="1579" y="1972"/>
                    </a:lnTo>
                    <a:lnTo>
                      <a:pt x="1602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09" name="Freeform 82"/>
              <p:cNvSpPr>
                <a:spLocks/>
              </p:cNvSpPr>
              <p:nvPr/>
            </p:nvSpPr>
            <p:spPr bwMode="auto">
              <a:xfrm>
                <a:off x="4997" y="2807"/>
                <a:ext cx="1602" cy="2249"/>
              </a:xfrm>
              <a:custGeom>
                <a:avLst/>
                <a:gdLst>
                  <a:gd name="T0" fmla="*/ 23 w 1602"/>
                  <a:gd name="T1" fmla="*/ 0 h 2249"/>
                  <a:gd name="T2" fmla="*/ 0 w 1602"/>
                  <a:gd name="T3" fmla="*/ 2249 h 2249"/>
                  <a:gd name="T4" fmla="*/ 1164 w 1602"/>
                  <a:gd name="T5" fmla="*/ 2249 h 2249"/>
                  <a:gd name="T6" fmla="*/ 1579 w 1602"/>
                  <a:gd name="T7" fmla="*/ 1972 h 2249"/>
                  <a:gd name="T8" fmla="*/ 1602 w 1602"/>
                  <a:gd name="T9" fmla="*/ 0 h 2249"/>
                  <a:gd name="T10" fmla="*/ 23 w 1602"/>
                  <a:gd name="T11" fmla="*/ 0 h 2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02" h="2249">
                    <a:moveTo>
                      <a:pt x="23" y="0"/>
                    </a:moveTo>
                    <a:lnTo>
                      <a:pt x="0" y="2249"/>
                    </a:lnTo>
                    <a:lnTo>
                      <a:pt x="1164" y="2249"/>
                    </a:lnTo>
                    <a:lnTo>
                      <a:pt x="1579" y="1972"/>
                    </a:lnTo>
                    <a:lnTo>
                      <a:pt x="1602" y="0"/>
                    </a:lnTo>
                    <a:lnTo>
                      <a:pt x="2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0" name="Freeform 83"/>
              <p:cNvSpPr>
                <a:spLocks/>
              </p:cNvSpPr>
              <p:nvPr/>
            </p:nvSpPr>
            <p:spPr bwMode="auto">
              <a:xfrm>
                <a:off x="6161" y="4744"/>
                <a:ext cx="415" cy="312"/>
              </a:xfrm>
              <a:custGeom>
                <a:avLst/>
                <a:gdLst>
                  <a:gd name="T0" fmla="*/ 17 w 36"/>
                  <a:gd name="T1" fmla="*/ 0 h 27"/>
                  <a:gd name="T2" fmla="*/ 0 w 36"/>
                  <a:gd name="T3" fmla="*/ 27 h 27"/>
                  <a:gd name="T4" fmla="*/ 36 w 36"/>
                  <a:gd name="T5" fmla="*/ 3 h 27"/>
                  <a:gd name="T6" fmla="*/ 17 w 36"/>
                  <a:gd name="T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27">
                    <a:moveTo>
                      <a:pt x="17" y="0"/>
                    </a:moveTo>
                    <a:cubicBezTo>
                      <a:pt x="19" y="14"/>
                      <a:pt x="0" y="27"/>
                      <a:pt x="0" y="27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24" y="8"/>
                      <a:pt x="17" y="0"/>
                      <a:pt x="17" y="0"/>
                    </a:cubicBezTo>
                  </a:path>
                </a:pathLst>
              </a:custGeom>
              <a:solidFill>
                <a:srgbClr val="C7C8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1" name="Oval 84"/>
              <p:cNvSpPr>
                <a:spLocks noChangeArrowheads="1"/>
              </p:cNvSpPr>
              <p:nvPr/>
            </p:nvSpPr>
            <p:spPr bwMode="auto">
              <a:xfrm>
                <a:off x="5020" y="4687"/>
                <a:ext cx="92" cy="80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2" name="Freeform 85"/>
              <p:cNvSpPr>
                <a:spLocks/>
              </p:cNvSpPr>
              <p:nvPr/>
            </p:nvSpPr>
            <p:spPr bwMode="auto">
              <a:xfrm>
                <a:off x="5020" y="4698"/>
                <a:ext cx="80" cy="69"/>
              </a:xfrm>
              <a:custGeom>
                <a:avLst/>
                <a:gdLst>
                  <a:gd name="T0" fmla="*/ 5 w 7"/>
                  <a:gd name="T1" fmla="*/ 5 h 6"/>
                  <a:gd name="T2" fmla="*/ 1 w 7"/>
                  <a:gd name="T3" fmla="*/ 2 h 6"/>
                  <a:gd name="T4" fmla="*/ 2 w 7"/>
                  <a:gd name="T5" fmla="*/ 0 h 6"/>
                  <a:gd name="T6" fmla="*/ 0 w 7"/>
                  <a:gd name="T7" fmla="*/ 3 h 6"/>
                  <a:gd name="T8" fmla="*/ 4 w 7"/>
                  <a:gd name="T9" fmla="*/ 6 h 6"/>
                  <a:gd name="T10" fmla="*/ 7 w 7"/>
                  <a:gd name="T11" fmla="*/ 4 h 6"/>
                  <a:gd name="T12" fmla="*/ 5 w 7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5" y="5"/>
                    </a:moveTo>
                    <a:cubicBezTo>
                      <a:pt x="3" y="5"/>
                      <a:pt x="1" y="4"/>
                      <a:pt x="1" y="2"/>
                    </a:cubicBezTo>
                    <a:cubicBezTo>
                      <a:pt x="1" y="1"/>
                      <a:pt x="1" y="1"/>
                      <a:pt x="2" y="0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5"/>
                      <a:pt x="2" y="6"/>
                      <a:pt x="4" y="6"/>
                    </a:cubicBezTo>
                    <a:cubicBezTo>
                      <a:pt x="5" y="6"/>
                      <a:pt x="7" y="5"/>
                      <a:pt x="7" y="4"/>
                    </a:cubicBezTo>
                    <a:cubicBezTo>
                      <a:pt x="6" y="5"/>
                      <a:pt x="6" y="5"/>
                      <a:pt x="5" y="5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3" name="Oval 86"/>
              <p:cNvSpPr>
                <a:spLocks noChangeArrowheads="1"/>
              </p:cNvSpPr>
              <p:nvPr/>
            </p:nvSpPr>
            <p:spPr bwMode="auto">
              <a:xfrm>
                <a:off x="5031" y="4514"/>
                <a:ext cx="81" cy="92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4" name="Freeform 87"/>
              <p:cNvSpPr>
                <a:spLocks/>
              </p:cNvSpPr>
              <p:nvPr/>
            </p:nvSpPr>
            <p:spPr bwMode="auto">
              <a:xfrm>
                <a:off x="5031" y="4525"/>
                <a:ext cx="69" cy="81"/>
              </a:xfrm>
              <a:custGeom>
                <a:avLst/>
                <a:gdLst>
                  <a:gd name="T0" fmla="*/ 4 w 6"/>
                  <a:gd name="T1" fmla="*/ 6 h 7"/>
                  <a:gd name="T2" fmla="*/ 0 w 6"/>
                  <a:gd name="T3" fmla="*/ 2 h 7"/>
                  <a:gd name="T4" fmla="*/ 1 w 6"/>
                  <a:gd name="T5" fmla="*/ 0 h 7"/>
                  <a:gd name="T6" fmla="*/ 0 w 6"/>
                  <a:gd name="T7" fmla="*/ 3 h 7"/>
                  <a:gd name="T8" fmla="*/ 3 w 6"/>
                  <a:gd name="T9" fmla="*/ 7 h 7"/>
                  <a:gd name="T10" fmla="*/ 6 w 6"/>
                  <a:gd name="T11" fmla="*/ 5 h 7"/>
                  <a:gd name="T12" fmla="*/ 4 w 6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7">
                    <a:moveTo>
                      <a:pt x="4" y="6"/>
                    </a:moveTo>
                    <a:cubicBezTo>
                      <a:pt x="2" y="6"/>
                      <a:pt x="0" y="4"/>
                      <a:pt x="0" y="2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4" y="7"/>
                      <a:pt x="6" y="6"/>
                      <a:pt x="6" y="5"/>
                    </a:cubicBezTo>
                    <a:cubicBezTo>
                      <a:pt x="6" y="5"/>
                      <a:pt x="5" y="6"/>
                      <a:pt x="4" y="6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5" name="Oval 88"/>
              <p:cNvSpPr>
                <a:spLocks noChangeArrowheads="1"/>
              </p:cNvSpPr>
              <p:nvPr/>
            </p:nvSpPr>
            <p:spPr bwMode="auto">
              <a:xfrm>
                <a:off x="5031" y="4352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6" name="Freeform 89"/>
              <p:cNvSpPr>
                <a:spLocks/>
              </p:cNvSpPr>
              <p:nvPr/>
            </p:nvSpPr>
            <p:spPr bwMode="auto">
              <a:xfrm>
                <a:off x="5031" y="4364"/>
                <a:ext cx="69" cy="69"/>
              </a:xfrm>
              <a:custGeom>
                <a:avLst/>
                <a:gdLst>
                  <a:gd name="T0" fmla="*/ 4 w 6"/>
                  <a:gd name="T1" fmla="*/ 5 h 6"/>
                  <a:gd name="T2" fmla="*/ 0 w 6"/>
                  <a:gd name="T3" fmla="*/ 2 h 6"/>
                  <a:gd name="T4" fmla="*/ 1 w 6"/>
                  <a:gd name="T5" fmla="*/ 0 h 6"/>
                  <a:gd name="T6" fmla="*/ 0 w 6"/>
                  <a:gd name="T7" fmla="*/ 3 h 6"/>
                  <a:gd name="T8" fmla="*/ 3 w 6"/>
                  <a:gd name="T9" fmla="*/ 6 h 6"/>
                  <a:gd name="T10" fmla="*/ 6 w 6"/>
                  <a:gd name="T11" fmla="*/ 4 h 6"/>
                  <a:gd name="T12" fmla="*/ 4 w 6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4" y="5"/>
                    </a:moveTo>
                    <a:cubicBezTo>
                      <a:pt x="2" y="5"/>
                      <a:pt x="0" y="4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ubicBezTo>
                      <a:pt x="5" y="6"/>
                      <a:pt x="6" y="5"/>
                      <a:pt x="6" y="4"/>
                    </a:cubicBezTo>
                    <a:cubicBezTo>
                      <a:pt x="6" y="5"/>
                      <a:pt x="5" y="5"/>
                      <a:pt x="4" y="5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7" name="Freeform 90"/>
              <p:cNvSpPr>
                <a:spLocks/>
              </p:cNvSpPr>
              <p:nvPr/>
            </p:nvSpPr>
            <p:spPr bwMode="auto">
              <a:xfrm>
                <a:off x="5031" y="4179"/>
                <a:ext cx="81" cy="93"/>
              </a:xfrm>
              <a:custGeom>
                <a:avLst/>
                <a:gdLst>
                  <a:gd name="T0" fmla="*/ 3 w 7"/>
                  <a:gd name="T1" fmla="*/ 0 h 8"/>
                  <a:gd name="T2" fmla="*/ 0 w 7"/>
                  <a:gd name="T3" fmla="*/ 4 h 8"/>
                  <a:gd name="T4" fmla="*/ 3 w 7"/>
                  <a:gd name="T5" fmla="*/ 8 h 8"/>
                  <a:gd name="T6" fmla="*/ 7 w 7"/>
                  <a:gd name="T7" fmla="*/ 4 h 8"/>
                  <a:gd name="T8" fmla="*/ 3 w 7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3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1" y="8"/>
                      <a:pt x="3" y="8"/>
                    </a:cubicBezTo>
                    <a:cubicBezTo>
                      <a:pt x="5" y="8"/>
                      <a:pt x="7" y="6"/>
                      <a:pt x="7" y="4"/>
                    </a:cubicBezTo>
                    <a:cubicBezTo>
                      <a:pt x="7" y="2"/>
                      <a:pt x="5" y="0"/>
                      <a:pt x="3" y="0"/>
                    </a:cubicBezTo>
                    <a:close/>
                  </a:path>
                </a:pathLst>
              </a:cu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8" name="Freeform 91"/>
              <p:cNvSpPr>
                <a:spLocks/>
              </p:cNvSpPr>
              <p:nvPr/>
            </p:nvSpPr>
            <p:spPr bwMode="auto">
              <a:xfrm>
                <a:off x="5031" y="4191"/>
                <a:ext cx="81" cy="81"/>
              </a:xfrm>
              <a:custGeom>
                <a:avLst/>
                <a:gdLst>
                  <a:gd name="T0" fmla="*/ 4 w 7"/>
                  <a:gd name="T1" fmla="*/ 6 h 7"/>
                  <a:gd name="T2" fmla="*/ 1 w 7"/>
                  <a:gd name="T3" fmla="*/ 2 h 7"/>
                  <a:gd name="T4" fmla="*/ 1 w 7"/>
                  <a:gd name="T5" fmla="*/ 0 h 7"/>
                  <a:gd name="T6" fmla="*/ 0 w 7"/>
                  <a:gd name="T7" fmla="*/ 3 h 7"/>
                  <a:gd name="T8" fmla="*/ 3 w 7"/>
                  <a:gd name="T9" fmla="*/ 7 h 7"/>
                  <a:gd name="T10" fmla="*/ 7 w 7"/>
                  <a:gd name="T11" fmla="*/ 5 h 7"/>
                  <a:gd name="T12" fmla="*/ 4 w 7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4" y="6"/>
                    </a:moveTo>
                    <a:cubicBezTo>
                      <a:pt x="2" y="6"/>
                      <a:pt x="1" y="4"/>
                      <a:pt x="1" y="2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5" y="7"/>
                      <a:pt x="6" y="6"/>
                      <a:pt x="7" y="5"/>
                    </a:cubicBezTo>
                    <a:cubicBezTo>
                      <a:pt x="6" y="5"/>
                      <a:pt x="5" y="6"/>
                      <a:pt x="4" y="6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19" name="Oval 92"/>
              <p:cNvSpPr>
                <a:spLocks noChangeArrowheads="1"/>
              </p:cNvSpPr>
              <p:nvPr/>
            </p:nvSpPr>
            <p:spPr bwMode="auto">
              <a:xfrm>
                <a:off x="5031" y="4018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0" name="Freeform 93"/>
              <p:cNvSpPr>
                <a:spLocks/>
              </p:cNvSpPr>
              <p:nvPr/>
            </p:nvSpPr>
            <p:spPr bwMode="auto">
              <a:xfrm>
                <a:off x="5031" y="4029"/>
                <a:ext cx="81" cy="70"/>
              </a:xfrm>
              <a:custGeom>
                <a:avLst/>
                <a:gdLst>
                  <a:gd name="T0" fmla="*/ 4 w 7"/>
                  <a:gd name="T1" fmla="*/ 5 h 6"/>
                  <a:gd name="T2" fmla="*/ 1 w 7"/>
                  <a:gd name="T3" fmla="*/ 2 h 6"/>
                  <a:gd name="T4" fmla="*/ 1 w 7"/>
                  <a:gd name="T5" fmla="*/ 0 h 6"/>
                  <a:gd name="T6" fmla="*/ 0 w 7"/>
                  <a:gd name="T7" fmla="*/ 2 h 6"/>
                  <a:gd name="T8" fmla="*/ 4 w 7"/>
                  <a:gd name="T9" fmla="*/ 6 h 6"/>
                  <a:gd name="T10" fmla="*/ 7 w 7"/>
                  <a:gd name="T11" fmla="*/ 4 h 6"/>
                  <a:gd name="T12" fmla="*/ 4 w 7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4" y="5"/>
                    </a:moveTo>
                    <a:cubicBezTo>
                      <a:pt x="2" y="5"/>
                      <a:pt x="1" y="4"/>
                      <a:pt x="1" y="2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4"/>
                      <a:pt x="2" y="6"/>
                      <a:pt x="4" y="6"/>
                    </a:cubicBezTo>
                    <a:cubicBezTo>
                      <a:pt x="5" y="6"/>
                      <a:pt x="6" y="5"/>
                      <a:pt x="7" y="4"/>
                    </a:cubicBezTo>
                    <a:cubicBezTo>
                      <a:pt x="6" y="5"/>
                      <a:pt x="5" y="5"/>
                      <a:pt x="4" y="5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1" name="Oval 94"/>
              <p:cNvSpPr>
                <a:spLocks noChangeArrowheads="1"/>
              </p:cNvSpPr>
              <p:nvPr/>
            </p:nvSpPr>
            <p:spPr bwMode="auto">
              <a:xfrm>
                <a:off x="5031" y="3845"/>
                <a:ext cx="81" cy="92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2" name="Freeform 95"/>
              <p:cNvSpPr>
                <a:spLocks/>
              </p:cNvSpPr>
              <p:nvPr/>
            </p:nvSpPr>
            <p:spPr bwMode="auto">
              <a:xfrm>
                <a:off x="5031" y="3856"/>
                <a:ext cx="81" cy="81"/>
              </a:xfrm>
              <a:custGeom>
                <a:avLst/>
                <a:gdLst>
                  <a:gd name="T0" fmla="*/ 4 w 7"/>
                  <a:gd name="T1" fmla="*/ 6 h 7"/>
                  <a:gd name="T2" fmla="*/ 1 w 7"/>
                  <a:gd name="T3" fmla="*/ 2 h 7"/>
                  <a:gd name="T4" fmla="*/ 1 w 7"/>
                  <a:gd name="T5" fmla="*/ 0 h 7"/>
                  <a:gd name="T6" fmla="*/ 0 w 7"/>
                  <a:gd name="T7" fmla="*/ 3 h 7"/>
                  <a:gd name="T8" fmla="*/ 4 w 7"/>
                  <a:gd name="T9" fmla="*/ 7 h 7"/>
                  <a:gd name="T10" fmla="*/ 7 w 7"/>
                  <a:gd name="T11" fmla="*/ 5 h 7"/>
                  <a:gd name="T12" fmla="*/ 4 w 7"/>
                  <a:gd name="T13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7">
                    <a:moveTo>
                      <a:pt x="4" y="6"/>
                    </a:moveTo>
                    <a:cubicBezTo>
                      <a:pt x="2" y="6"/>
                      <a:pt x="1" y="4"/>
                      <a:pt x="1" y="2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5"/>
                      <a:pt x="2" y="7"/>
                      <a:pt x="4" y="7"/>
                    </a:cubicBezTo>
                    <a:cubicBezTo>
                      <a:pt x="5" y="7"/>
                      <a:pt x="6" y="6"/>
                      <a:pt x="7" y="5"/>
                    </a:cubicBezTo>
                    <a:cubicBezTo>
                      <a:pt x="6" y="5"/>
                      <a:pt x="5" y="6"/>
                      <a:pt x="4" y="6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3" name="Oval 96"/>
              <p:cNvSpPr>
                <a:spLocks noChangeArrowheads="1"/>
              </p:cNvSpPr>
              <p:nvPr/>
            </p:nvSpPr>
            <p:spPr bwMode="auto">
              <a:xfrm>
                <a:off x="5031" y="3683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4" name="Freeform 97"/>
              <p:cNvSpPr>
                <a:spLocks/>
              </p:cNvSpPr>
              <p:nvPr/>
            </p:nvSpPr>
            <p:spPr bwMode="auto">
              <a:xfrm>
                <a:off x="5031" y="3695"/>
                <a:ext cx="81" cy="69"/>
              </a:xfrm>
              <a:custGeom>
                <a:avLst/>
                <a:gdLst>
                  <a:gd name="T0" fmla="*/ 5 w 7"/>
                  <a:gd name="T1" fmla="*/ 5 h 6"/>
                  <a:gd name="T2" fmla="*/ 1 w 7"/>
                  <a:gd name="T3" fmla="*/ 1 h 6"/>
                  <a:gd name="T4" fmla="*/ 1 w 7"/>
                  <a:gd name="T5" fmla="*/ 0 h 6"/>
                  <a:gd name="T6" fmla="*/ 0 w 7"/>
                  <a:gd name="T7" fmla="*/ 2 h 6"/>
                  <a:gd name="T8" fmla="*/ 4 w 7"/>
                  <a:gd name="T9" fmla="*/ 6 h 6"/>
                  <a:gd name="T10" fmla="*/ 7 w 7"/>
                  <a:gd name="T11" fmla="*/ 4 h 6"/>
                  <a:gd name="T12" fmla="*/ 5 w 7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5" y="5"/>
                    </a:moveTo>
                    <a:cubicBezTo>
                      <a:pt x="3" y="5"/>
                      <a:pt x="1" y="3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2" y="6"/>
                      <a:pt x="4" y="6"/>
                    </a:cubicBezTo>
                    <a:cubicBezTo>
                      <a:pt x="5" y="6"/>
                      <a:pt x="6" y="5"/>
                      <a:pt x="7" y="4"/>
                    </a:cubicBezTo>
                    <a:cubicBezTo>
                      <a:pt x="6" y="5"/>
                      <a:pt x="6" y="5"/>
                      <a:pt x="5" y="5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5" name="Oval 98"/>
              <p:cNvSpPr>
                <a:spLocks noChangeArrowheads="1"/>
              </p:cNvSpPr>
              <p:nvPr/>
            </p:nvSpPr>
            <p:spPr bwMode="auto">
              <a:xfrm>
                <a:off x="5043" y="3510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6" name="Freeform 99"/>
              <p:cNvSpPr>
                <a:spLocks/>
              </p:cNvSpPr>
              <p:nvPr/>
            </p:nvSpPr>
            <p:spPr bwMode="auto">
              <a:xfrm>
                <a:off x="5043" y="3522"/>
                <a:ext cx="69" cy="69"/>
              </a:xfrm>
              <a:custGeom>
                <a:avLst/>
                <a:gdLst>
                  <a:gd name="T0" fmla="*/ 4 w 6"/>
                  <a:gd name="T1" fmla="*/ 6 h 6"/>
                  <a:gd name="T2" fmla="*/ 0 w 6"/>
                  <a:gd name="T3" fmla="*/ 2 h 6"/>
                  <a:gd name="T4" fmla="*/ 1 w 6"/>
                  <a:gd name="T5" fmla="*/ 0 h 6"/>
                  <a:gd name="T6" fmla="*/ 0 w 6"/>
                  <a:gd name="T7" fmla="*/ 3 h 6"/>
                  <a:gd name="T8" fmla="*/ 3 w 6"/>
                  <a:gd name="T9" fmla="*/ 6 h 6"/>
                  <a:gd name="T10" fmla="*/ 6 w 6"/>
                  <a:gd name="T11" fmla="*/ 4 h 6"/>
                  <a:gd name="T12" fmla="*/ 4 w 6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cubicBezTo>
                      <a:pt x="2" y="6"/>
                      <a:pt x="0" y="4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ubicBezTo>
                      <a:pt x="4" y="6"/>
                      <a:pt x="6" y="6"/>
                      <a:pt x="6" y="4"/>
                    </a:cubicBezTo>
                    <a:cubicBezTo>
                      <a:pt x="6" y="5"/>
                      <a:pt x="5" y="6"/>
                      <a:pt x="4" y="6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7" name="Oval 100"/>
              <p:cNvSpPr>
                <a:spLocks noChangeArrowheads="1"/>
              </p:cNvSpPr>
              <p:nvPr/>
            </p:nvSpPr>
            <p:spPr bwMode="auto">
              <a:xfrm>
                <a:off x="5043" y="3349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8" name="Freeform 101"/>
              <p:cNvSpPr>
                <a:spLocks/>
              </p:cNvSpPr>
              <p:nvPr/>
            </p:nvSpPr>
            <p:spPr bwMode="auto">
              <a:xfrm>
                <a:off x="5043" y="3361"/>
                <a:ext cx="69" cy="69"/>
              </a:xfrm>
              <a:custGeom>
                <a:avLst/>
                <a:gdLst>
                  <a:gd name="T0" fmla="*/ 4 w 6"/>
                  <a:gd name="T1" fmla="*/ 5 h 6"/>
                  <a:gd name="T2" fmla="*/ 0 w 6"/>
                  <a:gd name="T3" fmla="*/ 1 h 6"/>
                  <a:gd name="T4" fmla="*/ 1 w 6"/>
                  <a:gd name="T5" fmla="*/ 0 h 6"/>
                  <a:gd name="T6" fmla="*/ 0 w 6"/>
                  <a:gd name="T7" fmla="*/ 2 h 6"/>
                  <a:gd name="T8" fmla="*/ 3 w 6"/>
                  <a:gd name="T9" fmla="*/ 6 h 6"/>
                  <a:gd name="T10" fmla="*/ 6 w 6"/>
                  <a:gd name="T11" fmla="*/ 4 h 6"/>
                  <a:gd name="T12" fmla="*/ 4 w 6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4" y="5"/>
                    </a:moveTo>
                    <a:cubicBezTo>
                      <a:pt x="2" y="5"/>
                      <a:pt x="0" y="3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3" y="6"/>
                    </a:cubicBezTo>
                    <a:cubicBezTo>
                      <a:pt x="5" y="6"/>
                      <a:pt x="6" y="5"/>
                      <a:pt x="6" y="4"/>
                    </a:cubicBezTo>
                    <a:cubicBezTo>
                      <a:pt x="6" y="5"/>
                      <a:pt x="5" y="5"/>
                      <a:pt x="4" y="5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29" name="Oval 102"/>
              <p:cNvSpPr>
                <a:spLocks noChangeArrowheads="1"/>
              </p:cNvSpPr>
              <p:nvPr/>
            </p:nvSpPr>
            <p:spPr bwMode="auto">
              <a:xfrm>
                <a:off x="5043" y="3176"/>
                <a:ext cx="81" cy="81"/>
              </a:xfrm>
              <a:prstGeom prst="ellipse">
                <a:avLst/>
              </a:pr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0" name="Freeform 103"/>
              <p:cNvSpPr>
                <a:spLocks/>
              </p:cNvSpPr>
              <p:nvPr/>
            </p:nvSpPr>
            <p:spPr bwMode="auto">
              <a:xfrm>
                <a:off x="5043" y="3188"/>
                <a:ext cx="81" cy="69"/>
              </a:xfrm>
              <a:custGeom>
                <a:avLst/>
                <a:gdLst>
                  <a:gd name="T0" fmla="*/ 4 w 7"/>
                  <a:gd name="T1" fmla="*/ 5 h 6"/>
                  <a:gd name="T2" fmla="*/ 0 w 7"/>
                  <a:gd name="T3" fmla="*/ 2 h 6"/>
                  <a:gd name="T4" fmla="*/ 1 w 7"/>
                  <a:gd name="T5" fmla="*/ 0 h 6"/>
                  <a:gd name="T6" fmla="*/ 0 w 7"/>
                  <a:gd name="T7" fmla="*/ 3 h 6"/>
                  <a:gd name="T8" fmla="*/ 3 w 7"/>
                  <a:gd name="T9" fmla="*/ 6 h 6"/>
                  <a:gd name="T10" fmla="*/ 7 w 7"/>
                  <a:gd name="T11" fmla="*/ 4 h 6"/>
                  <a:gd name="T12" fmla="*/ 4 w 7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4" y="5"/>
                    </a:moveTo>
                    <a:cubicBezTo>
                      <a:pt x="2" y="5"/>
                      <a:pt x="0" y="4"/>
                      <a:pt x="0" y="2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5"/>
                      <a:pt x="1" y="6"/>
                      <a:pt x="3" y="6"/>
                    </a:cubicBezTo>
                    <a:cubicBezTo>
                      <a:pt x="5" y="6"/>
                      <a:pt x="6" y="6"/>
                      <a:pt x="7" y="4"/>
                    </a:cubicBezTo>
                    <a:cubicBezTo>
                      <a:pt x="6" y="5"/>
                      <a:pt x="5" y="5"/>
                      <a:pt x="4" y="5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1" name="Freeform 104"/>
              <p:cNvSpPr>
                <a:spLocks/>
              </p:cNvSpPr>
              <p:nvPr/>
            </p:nvSpPr>
            <p:spPr bwMode="auto">
              <a:xfrm>
                <a:off x="5043" y="3015"/>
                <a:ext cx="81" cy="80"/>
              </a:xfrm>
              <a:custGeom>
                <a:avLst/>
                <a:gdLst>
                  <a:gd name="T0" fmla="*/ 4 w 7"/>
                  <a:gd name="T1" fmla="*/ 0 h 7"/>
                  <a:gd name="T2" fmla="*/ 0 w 7"/>
                  <a:gd name="T3" fmla="*/ 3 h 7"/>
                  <a:gd name="T4" fmla="*/ 3 w 7"/>
                  <a:gd name="T5" fmla="*/ 7 h 7"/>
                  <a:gd name="T6" fmla="*/ 7 w 7"/>
                  <a:gd name="T7" fmla="*/ 3 h 7"/>
                  <a:gd name="T8" fmla="*/ 4 w 7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4" y="0"/>
                    </a:moveTo>
                    <a:cubicBezTo>
                      <a:pt x="2" y="0"/>
                      <a:pt x="0" y="1"/>
                      <a:pt x="0" y="3"/>
                    </a:cubicBezTo>
                    <a:cubicBezTo>
                      <a:pt x="0" y="5"/>
                      <a:pt x="2" y="7"/>
                      <a:pt x="3" y="7"/>
                    </a:cubicBezTo>
                    <a:cubicBezTo>
                      <a:pt x="5" y="7"/>
                      <a:pt x="7" y="5"/>
                      <a:pt x="7" y="3"/>
                    </a:cubicBezTo>
                    <a:cubicBezTo>
                      <a:pt x="7" y="1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6F66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2" name="Freeform 105"/>
              <p:cNvSpPr>
                <a:spLocks/>
              </p:cNvSpPr>
              <p:nvPr/>
            </p:nvSpPr>
            <p:spPr bwMode="auto">
              <a:xfrm>
                <a:off x="5043" y="3026"/>
                <a:ext cx="81" cy="69"/>
              </a:xfrm>
              <a:custGeom>
                <a:avLst/>
                <a:gdLst>
                  <a:gd name="T0" fmla="*/ 4 w 7"/>
                  <a:gd name="T1" fmla="*/ 5 h 6"/>
                  <a:gd name="T2" fmla="*/ 1 w 7"/>
                  <a:gd name="T3" fmla="*/ 1 h 6"/>
                  <a:gd name="T4" fmla="*/ 1 w 7"/>
                  <a:gd name="T5" fmla="*/ 0 h 6"/>
                  <a:gd name="T6" fmla="*/ 0 w 7"/>
                  <a:gd name="T7" fmla="*/ 2 h 6"/>
                  <a:gd name="T8" fmla="*/ 3 w 7"/>
                  <a:gd name="T9" fmla="*/ 6 h 6"/>
                  <a:gd name="T10" fmla="*/ 7 w 7"/>
                  <a:gd name="T11" fmla="*/ 4 h 6"/>
                  <a:gd name="T12" fmla="*/ 4 w 7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4" y="5"/>
                    </a:moveTo>
                    <a:cubicBezTo>
                      <a:pt x="2" y="5"/>
                      <a:pt x="1" y="3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4"/>
                      <a:pt x="2" y="6"/>
                      <a:pt x="3" y="6"/>
                    </a:cubicBezTo>
                    <a:cubicBezTo>
                      <a:pt x="5" y="6"/>
                      <a:pt x="6" y="5"/>
                      <a:pt x="7" y="4"/>
                    </a:cubicBezTo>
                    <a:cubicBezTo>
                      <a:pt x="6" y="4"/>
                      <a:pt x="5" y="5"/>
                      <a:pt x="4" y="5"/>
                    </a:cubicBezTo>
                    <a:close/>
                  </a:path>
                </a:pathLst>
              </a:custGeom>
              <a:solidFill>
                <a:srgbClr val="8C8D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3" name="Freeform 106"/>
              <p:cNvSpPr>
                <a:spLocks/>
              </p:cNvSpPr>
              <p:nvPr/>
            </p:nvSpPr>
            <p:spPr bwMode="auto">
              <a:xfrm>
                <a:off x="4974" y="3038"/>
                <a:ext cx="46" cy="46"/>
              </a:xfrm>
              <a:custGeom>
                <a:avLst/>
                <a:gdLst>
                  <a:gd name="T0" fmla="*/ 1 w 4"/>
                  <a:gd name="T1" fmla="*/ 3 h 4"/>
                  <a:gd name="T2" fmla="*/ 1 w 4"/>
                  <a:gd name="T3" fmla="*/ 2 h 4"/>
                  <a:gd name="T4" fmla="*/ 1 w 4"/>
                  <a:gd name="T5" fmla="*/ 1 h 4"/>
                  <a:gd name="T6" fmla="*/ 4 w 4"/>
                  <a:gd name="T7" fmla="*/ 1 h 4"/>
                  <a:gd name="T8" fmla="*/ 4 w 4"/>
                  <a:gd name="T9" fmla="*/ 0 h 4"/>
                  <a:gd name="T10" fmla="*/ 1 w 4"/>
                  <a:gd name="T11" fmla="*/ 0 h 4"/>
                  <a:gd name="T12" fmla="*/ 0 w 4"/>
                  <a:gd name="T13" fmla="*/ 2 h 4"/>
                  <a:gd name="T14" fmla="*/ 1 w 4"/>
                  <a:gd name="T15" fmla="*/ 4 h 4"/>
                  <a:gd name="T16" fmla="*/ 4 w 4"/>
                  <a:gd name="T17" fmla="*/ 4 h 4"/>
                  <a:gd name="T18" fmla="*/ 4 w 4"/>
                  <a:gd name="T19" fmla="*/ 3 h 4"/>
                  <a:gd name="T20" fmla="*/ 1 w 4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1" y="3"/>
                    </a:move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4" name="Freeform 107"/>
              <p:cNvSpPr>
                <a:spLocks/>
              </p:cNvSpPr>
              <p:nvPr/>
            </p:nvSpPr>
            <p:spPr bwMode="auto">
              <a:xfrm>
                <a:off x="5020" y="3038"/>
                <a:ext cx="57" cy="46"/>
              </a:xfrm>
              <a:custGeom>
                <a:avLst/>
                <a:gdLst>
                  <a:gd name="T0" fmla="*/ 4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4 w 5"/>
                  <a:gd name="T7" fmla="*/ 1 h 4"/>
                  <a:gd name="T8" fmla="*/ 4 w 5"/>
                  <a:gd name="T9" fmla="*/ 2 h 4"/>
                  <a:gd name="T10" fmla="*/ 4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4 w 5"/>
                  <a:gd name="T17" fmla="*/ 4 h 4"/>
                  <a:gd name="T18" fmla="*/ 5 w 5"/>
                  <a:gd name="T19" fmla="*/ 2 h 4"/>
                  <a:gd name="T20" fmla="*/ 4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3"/>
                      <a:pt x="4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5" name="Freeform 108"/>
              <p:cNvSpPr>
                <a:spLocks/>
              </p:cNvSpPr>
              <p:nvPr/>
            </p:nvSpPr>
            <p:spPr bwMode="auto">
              <a:xfrm>
                <a:off x="5020" y="3199"/>
                <a:ext cx="57" cy="46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5 w 5"/>
                  <a:gd name="T19" fmla="*/ 2 h 4"/>
                  <a:gd name="T20" fmla="*/ 3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6" name="Freeform 109"/>
              <p:cNvSpPr>
                <a:spLocks/>
              </p:cNvSpPr>
              <p:nvPr/>
            </p:nvSpPr>
            <p:spPr bwMode="auto">
              <a:xfrm>
                <a:off x="4962" y="3199"/>
                <a:ext cx="58" cy="46"/>
              </a:xfrm>
              <a:custGeom>
                <a:avLst/>
                <a:gdLst>
                  <a:gd name="T0" fmla="*/ 2 w 5"/>
                  <a:gd name="T1" fmla="*/ 3 h 4"/>
                  <a:gd name="T2" fmla="*/ 1 w 5"/>
                  <a:gd name="T3" fmla="*/ 2 h 4"/>
                  <a:gd name="T4" fmla="*/ 2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2 w 5"/>
                  <a:gd name="T11" fmla="*/ 0 h 4"/>
                  <a:gd name="T12" fmla="*/ 0 w 5"/>
                  <a:gd name="T13" fmla="*/ 2 h 4"/>
                  <a:gd name="T14" fmla="*/ 2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2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3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7" name="Freeform 110"/>
              <p:cNvSpPr>
                <a:spLocks/>
              </p:cNvSpPr>
              <p:nvPr/>
            </p:nvSpPr>
            <p:spPr bwMode="auto">
              <a:xfrm>
                <a:off x="4962" y="3372"/>
                <a:ext cx="58" cy="35"/>
              </a:xfrm>
              <a:custGeom>
                <a:avLst/>
                <a:gdLst>
                  <a:gd name="T0" fmla="*/ 2 w 5"/>
                  <a:gd name="T1" fmla="*/ 2 h 3"/>
                  <a:gd name="T2" fmla="*/ 1 w 5"/>
                  <a:gd name="T3" fmla="*/ 2 h 3"/>
                  <a:gd name="T4" fmla="*/ 2 w 5"/>
                  <a:gd name="T5" fmla="*/ 1 h 3"/>
                  <a:gd name="T6" fmla="*/ 5 w 5"/>
                  <a:gd name="T7" fmla="*/ 1 h 3"/>
                  <a:gd name="T8" fmla="*/ 5 w 5"/>
                  <a:gd name="T9" fmla="*/ 0 h 3"/>
                  <a:gd name="T10" fmla="*/ 2 w 5"/>
                  <a:gd name="T11" fmla="*/ 0 h 3"/>
                  <a:gd name="T12" fmla="*/ 0 w 5"/>
                  <a:gd name="T13" fmla="*/ 1 h 3"/>
                  <a:gd name="T14" fmla="*/ 2 w 5"/>
                  <a:gd name="T15" fmla="*/ 3 h 3"/>
                  <a:gd name="T16" fmla="*/ 5 w 5"/>
                  <a:gd name="T17" fmla="*/ 3 h 3"/>
                  <a:gd name="T18" fmla="*/ 5 w 5"/>
                  <a:gd name="T19" fmla="*/ 2 h 3"/>
                  <a:gd name="T20" fmla="*/ 2 w 5"/>
                  <a:gd name="T21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3">
                    <a:moveTo>
                      <a:pt x="2" y="2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2" y="1"/>
                      <a:pt x="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3"/>
                      <a:pt x="1" y="3"/>
                      <a:pt x="2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5" y="2"/>
                      <a:pt x="5" y="2"/>
                    </a:cubicBez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8" name="Freeform 111"/>
              <p:cNvSpPr>
                <a:spLocks/>
              </p:cNvSpPr>
              <p:nvPr/>
            </p:nvSpPr>
            <p:spPr bwMode="auto">
              <a:xfrm>
                <a:off x="5020" y="3372"/>
                <a:ext cx="57" cy="35"/>
              </a:xfrm>
              <a:custGeom>
                <a:avLst/>
                <a:gdLst>
                  <a:gd name="T0" fmla="*/ 3 w 5"/>
                  <a:gd name="T1" fmla="*/ 0 h 3"/>
                  <a:gd name="T2" fmla="*/ 0 w 5"/>
                  <a:gd name="T3" fmla="*/ 0 h 3"/>
                  <a:gd name="T4" fmla="*/ 0 w 5"/>
                  <a:gd name="T5" fmla="*/ 1 h 3"/>
                  <a:gd name="T6" fmla="*/ 3 w 5"/>
                  <a:gd name="T7" fmla="*/ 1 h 3"/>
                  <a:gd name="T8" fmla="*/ 4 w 5"/>
                  <a:gd name="T9" fmla="*/ 2 h 3"/>
                  <a:gd name="T10" fmla="*/ 3 w 5"/>
                  <a:gd name="T11" fmla="*/ 2 h 3"/>
                  <a:gd name="T12" fmla="*/ 0 w 5"/>
                  <a:gd name="T13" fmla="*/ 2 h 3"/>
                  <a:gd name="T14" fmla="*/ 0 w 5"/>
                  <a:gd name="T15" fmla="*/ 3 h 3"/>
                  <a:gd name="T16" fmla="*/ 3 w 5"/>
                  <a:gd name="T17" fmla="*/ 3 h 3"/>
                  <a:gd name="T18" fmla="*/ 5 w 5"/>
                  <a:gd name="T19" fmla="*/ 1 h 3"/>
                  <a:gd name="T20" fmla="*/ 3 w 5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3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5" y="3"/>
                      <a:pt x="5" y="1"/>
                    </a:cubicBezTo>
                    <a:cubicBezTo>
                      <a:pt x="5" y="0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39" name="Freeform 112"/>
              <p:cNvSpPr>
                <a:spLocks/>
              </p:cNvSpPr>
              <p:nvPr/>
            </p:nvSpPr>
            <p:spPr bwMode="auto">
              <a:xfrm>
                <a:off x="4962" y="3534"/>
                <a:ext cx="58" cy="46"/>
              </a:xfrm>
              <a:custGeom>
                <a:avLst/>
                <a:gdLst>
                  <a:gd name="T0" fmla="*/ 2 w 5"/>
                  <a:gd name="T1" fmla="*/ 3 h 4"/>
                  <a:gd name="T2" fmla="*/ 1 w 5"/>
                  <a:gd name="T3" fmla="*/ 2 h 4"/>
                  <a:gd name="T4" fmla="*/ 2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2 w 5"/>
                  <a:gd name="T11" fmla="*/ 0 h 4"/>
                  <a:gd name="T12" fmla="*/ 0 w 5"/>
                  <a:gd name="T13" fmla="*/ 2 h 4"/>
                  <a:gd name="T14" fmla="*/ 2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2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3"/>
                    </a:move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0" name="Freeform 113"/>
              <p:cNvSpPr>
                <a:spLocks/>
              </p:cNvSpPr>
              <p:nvPr/>
            </p:nvSpPr>
            <p:spPr bwMode="auto">
              <a:xfrm>
                <a:off x="5020" y="3534"/>
                <a:ext cx="57" cy="46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5 w 5"/>
                  <a:gd name="T19" fmla="*/ 2 h 4"/>
                  <a:gd name="T20" fmla="*/ 3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1"/>
                      <a:pt x="4" y="2"/>
                    </a:cubicBezTo>
                    <a:cubicBezTo>
                      <a:pt x="4" y="2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1" name="Freeform 114"/>
              <p:cNvSpPr>
                <a:spLocks/>
              </p:cNvSpPr>
              <p:nvPr/>
            </p:nvSpPr>
            <p:spPr bwMode="auto">
              <a:xfrm>
                <a:off x="4962" y="3695"/>
                <a:ext cx="58" cy="46"/>
              </a:xfrm>
              <a:custGeom>
                <a:avLst/>
                <a:gdLst>
                  <a:gd name="T0" fmla="*/ 1 w 5"/>
                  <a:gd name="T1" fmla="*/ 3 h 4"/>
                  <a:gd name="T2" fmla="*/ 1 w 5"/>
                  <a:gd name="T3" fmla="*/ 2 h 4"/>
                  <a:gd name="T4" fmla="*/ 1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1 w 5"/>
                  <a:gd name="T11" fmla="*/ 0 h 4"/>
                  <a:gd name="T12" fmla="*/ 0 w 5"/>
                  <a:gd name="T13" fmla="*/ 2 h 4"/>
                  <a:gd name="T14" fmla="*/ 1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1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1" y="3"/>
                    </a:moveTo>
                    <a:cubicBezTo>
                      <a:pt x="1" y="3"/>
                      <a:pt x="1" y="3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1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2" name="Freeform 115"/>
              <p:cNvSpPr>
                <a:spLocks/>
              </p:cNvSpPr>
              <p:nvPr/>
            </p:nvSpPr>
            <p:spPr bwMode="auto">
              <a:xfrm>
                <a:off x="5020" y="3695"/>
                <a:ext cx="57" cy="46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4 w 5"/>
                  <a:gd name="T19" fmla="*/ 2 h 4"/>
                  <a:gd name="T20" fmla="*/ 3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2"/>
                      <a:pt x="4" y="2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3"/>
                      <a:pt x="4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3" name="Freeform 116"/>
              <p:cNvSpPr>
                <a:spLocks/>
              </p:cNvSpPr>
              <p:nvPr/>
            </p:nvSpPr>
            <p:spPr bwMode="auto">
              <a:xfrm>
                <a:off x="5020" y="3868"/>
                <a:ext cx="46" cy="46"/>
              </a:xfrm>
              <a:custGeom>
                <a:avLst/>
                <a:gdLst>
                  <a:gd name="T0" fmla="*/ 3 w 4"/>
                  <a:gd name="T1" fmla="*/ 0 h 4"/>
                  <a:gd name="T2" fmla="*/ 0 w 4"/>
                  <a:gd name="T3" fmla="*/ 0 h 4"/>
                  <a:gd name="T4" fmla="*/ 0 w 4"/>
                  <a:gd name="T5" fmla="*/ 1 h 4"/>
                  <a:gd name="T6" fmla="*/ 3 w 4"/>
                  <a:gd name="T7" fmla="*/ 1 h 4"/>
                  <a:gd name="T8" fmla="*/ 3 w 4"/>
                  <a:gd name="T9" fmla="*/ 2 h 4"/>
                  <a:gd name="T10" fmla="*/ 3 w 4"/>
                  <a:gd name="T11" fmla="*/ 3 h 4"/>
                  <a:gd name="T12" fmla="*/ 0 w 4"/>
                  <a:gd name="T13" fmla="*/ 3 h 4"/>
                  <a:gd name="T14" fmla="*/ 0 w 4"/>
                  <a:gd name="T15" fmla="*/ 4 h 4"/>
                  <a:gd name="T16" fmla="*/ 3 w 4"/>
                  <a:gd name="T17" fmla="*/ 4 h 4"/>
                  <a:gd name="T18" fmla="*/ 4 w 4"/>
                  <a:gd name="T19" fmla="*/ 2 h 4"/>
                  <a:gd name="T20" fmla="*/ 3 w 4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2"/>
                    </a:cubicBezTo>
                    <a:cubicBezTo>
                      <a:pt x="3" y="2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3"/>
                      <a:pt x="4" y="2"/>
                    </a:cubicBezTo>
                    <a:cubicBezTo>
                      <a:pt x="4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4" name="Freeform 117"/>
              <p:cNvSpPr>
                <a:spLocks/>
              </p:cNvSpPr>
              <p:nvPr/>
            </p:nvSpPr>
            <p:spPr bwMode="auto">
              <a:xfrm>
                <a:off x="4962" y="3868"/>
                <a:ext cx="58" cy="46"/>
              </a:xfrm>
              <a:custGeom>
                <a:avLst/>
                <a:gdLst>
                  <a:gd name="T0" fmla="*/ 1 w 5"/>
                  <a:gd name="T1" fmla="*/ 3 h 4"/>
                  <a:gd name="T2" fmla="*/ 1 w 5"/>
                  <a:gd name="T3" fmla="*/ 2 h 4"/>
                  <a:gd name="T4" fmla="*/ 1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1 w 5"/>
                  <a:gd name="T11" fmla="*/ 0 h 4"/>
                  <a:gd name="T12" fmla="*/ 0 w 5"/>
                  <a:gd name="T13" fmla="*/ 2 h 4"/>
                  <a:gd name="T14" fmla="*/ 1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1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1" y="3"/>
                    </a:move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5" name="Freeform 118"/>
              <p:cNvSpPr>
                <a:spLocks/>
              </p:cNvSpPr>
              <p:nvPr/>
            </p:nvSpPr>
            <p:spPr bwMode="auto">
              <a:xfrm>
                <a:off x="4962" y="4029"/>
                <a:ext cx="46" cy="47"/>
              </a:xfrm>
              <a:custGeom>
                <a:avLst/>
                <a:gdLst>
                  <a:gd name="T0" fmla="*/ 1 w 4"/>
                  <a:gd name="T1" fmla="*/ 3 h 4"/>
                  <a:gd name="T2" fmla="*/ 1 w 4"/>
                  <a:gd name="T3" fmla="*/ 2 h 4"/>
                  <a:gd name="T4" fmla="*/ 1 w 4"/>
                  <a:gd name="T5" fmla="*/ 1 h 4"/>
                  <a:gd name="T6" fmla="*/ 4 w 4"/>
                  <a:gd name="T7" fmla="*/ 1 h 4"/>
                  <a:gd name="T8" fmla="*/ 4 w 4"/>
                  <a:gd name="T9" fmla="*/ 0 h 4"/>
                  <a:gd name="T10" fmla="*/ 1 w 4"/>
                  <a:gd name="T11" fmla="*/ 0 h 4"/>
                  <a:gd name="T12" fmla="*/ 0 w 4"/>
                  <a:gd name="T13" fmla="*/ 2 h 4"/>
                  <a:gd name="T14" fmla="*/ 1 w 4"/>
                  <a:gd name="T15" fmla="*/ 4 h 4"/>
                  <a:gd name="T16" fmla="*/ 4 w 4"/>
                  <a:gd name="T17" fmla="*/ 4 h 4"/>
                  <a:gd name="T18" fmla="*/ 4 w 4"/>
                  <a:gd name="T19" fmla="*/ 3 h 4"/>
                  <a:gd name="T20" fmla="*/ 1 w 4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1" y="3"/>
                    </a:moveTo>
                    <a:cubicBezTo>
                      <a:pt x="1" y="3"/>
                      <a:pt x="1" y="3"/>
                      <a:pt x="1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6" name="Freeform 119"/>
              <p:cNvSpPr>
                <a:spLocks/>
              </p:cNvSpPr>
              <p:nvPr/>
            </p:nvSpPr>
            <p:spPr bwMode="auto">
              <a:xfrm>
                <a:off x="5008" y="4029"/>
                <a:ext cx="58" cy="47"/>
              </a:xfrm>
              <a:custGeom>
                <a:avLst/>
                <a:gdLst>
                  <a:gd name="T0" fmla="*/ 4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4 w 5"/>
                  <a:gd name="T7" fmla="*/ 1 h 4"/>
                  <a:gd name="T8" fmla="*/ 4 w 5"/>
                  <a:gd name="T9" fmla="*/ 2 h 4"/>
                  <a:gd name="T10" fmla="*/ 4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4 w 5"/>
                  <a:gd name="T17" fmla="*/ 4 h 4"/>
                  <a:gd name="T18" fmla="*/ 5 w 5"/>
                  <a:gd name="T19" fmla="*/ 2 h 4"/>
                  <a:gd name="T20" fmla="*/ 4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4"/>
                      <a:pt x="5" y="3"/>
                      <a:pt x="5" y="2"/>
                    </a:cubicBezTo>
                    <a:cubicBezTo>
                      <a:pt x="5" y="1"/>
                      <a:pt x="5" y="0"/>
                      <a:pt x="4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7" name="Freeform 120"/>
              <p:cNvSpPr>
                <a:spLocks/>
              </p:cNvSpPr>
              <p:nvPr/>
            </p:nvSpPr>
            <p:spPr bwMode="auto">
              <a:xfrm>
                <a:off x="5008" y="4202"/>
                <a:ext cx="58" cy="46"/>
              </a:xfrm>
              <a:custGeom>
                <a:avLst/>
                <a:gdLst>
                  <a:gd name="T0" fmla="*/ 4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4 w 5"/>
                  <a:gd name="T7" fmla="*/ 1 h 4"/>
                  <a:gd name="T8" fmla="*/ 4 w 5"/>
                  <a:gd name="T9" fmla="*/ 2 h 4"/>
                  <a:gd name="T10" fmla="*/ 4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4 w 5"/>
                  <a:gd name="T17" fmla="*/ 4 h 4"/>
                  <a:gd name="T18" fmla="*/ 5 w 5"/>
                  <a:gd name="T19" fmla="*/ 2 h 4"/>
                  <a:gd name="T20" fmla="*/ 4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2"/>
                      <a:pt x="4" y="3"/>
                      <a:pt x="4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8" name="Freeform 121"/>
              <p:cNvSpPr>
                <a:spLocks/>
              </p:cNvSpPr>
              <p:nvPr/>
            </p:nvSpPr>
            <p:spPr bwMode="auto">
              <a:xfrm>
                <a:off x="4962" y="4202"/>
                <a:ext cx="46" cy="46"/>
              </a:xfrm>
              <a:custGeom>
                <a:avLst/>
                <a:gdLst>
                  <a:gd name="T0" fmla="*/ 1 w 4"/>
                  <a:gd name="T1" fmla="*/ 3 h 4"/>
                  <a:gd name="T2" fmla="*/ 1 w 4"/>
                  <a:gd name="T3" fmla="*/ 2 h 4"/>
                  <a:gd name="T4" fmla="*/ 1 w 4"/>
                  <a:gd name="T5" fmla="*/ 1 h 4"/>
                  <a:gd name="T6" fmla="*/ 4 w 4"/>
                  <a:gd name="T7" fmla="*/ 1 h 4"/>
                  <a:gd name="T8" fmla="*/ 4 w 4"/>
                  <a:gd name="T9" fmla="*/ 0 h 4"/>
                  <a:gd name="T10" fmla="*/ 1 w 4"/>
                  <a:gd name="T11" fmla="*/ 0 h 4"/>
                  <a:gd name="T12" fmla="*/ 0 w 4"/>
                  <a:gd name="T13" fmla="*/ 2 h 4"/>
                  <a:gd name="T14" fmla="*/ 1 w 4"/>
                  <a:gd name="T15" fmla="*/ 4 h 4"/>
                  <a:gd name="T16" fmla="*/ 4 w 4"/>
                  <a:gd name="T17" fmla="*/ 4 h 4"/>
                  <a:gd name="T18" fmla="*/ 4 w 4"/>
                  <a:gd name="T19" fmla="*/ 3 h 4"/>
                  <a:gd name="T20" fmla="*/ 1 w 4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1" y="3"/>
                    </a:move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1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49" name="Freeform 122"/>
              <p:cNvSpPr>
                <a:spLocks/>
              </p:cNvSpPr>
              <p:nvPr/>
            </p:nvSpPr>
            <p:spPr bwMode="auto">
              <a:xfrm>
                <a:off x="4951" y="4364"/>
                <a:ext cx="57" cy="46"/>
              </a:xfrm>
              <a:custGeom>
                <a:avLst/>
                <a:gdLst>
                  <a:gd name="T0" fmla="*/ 2 w 5"/>
                  <a:gd name="T1" fmla="*/ 3 h 4"/>
                  <a:gd name="T2" fmla="*/ 1 w 5"/>
                  <a:gd name="T3" fmla="*/ 2 h 4"/>
                  <a:gd name="T4" fmla="*/ 2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2 w 5"/>
                  <a:gd name="T11" fmla="*/ 0 h 4"/>
                  <a:gd name="T12" fmla="*/ 0 w 5"/>
                  <a:gd name="T13" fmla="*/ 2 h 4"/>
                  <a:gd name="T14" fmla="*/ 2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2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3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1" y="2"/>
                      <a:pt x="2" y="1"/>
                      <a:pt x="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0" name="Freeform 123"/>
              <p:cNvSpPr>
                <a:spLocks/>
              </p:cNvSpPr>
              <p:nvPr/>
            </p:nvSpPr>
            <p:spPr bwMode="auto">
              <a:xfrm>
                <a:off x="5008" y="4364"/>
                <a:ext cx="58" cy="46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5 w 5"/>
                  <a:gd name="T19" fmla="*/ 2 h 4"/>
                  <a:gd name="T20" fmla="*/ 3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1" name="Freeform 124"/>
              <p:cNvSpPr>
                <a:spLocks/>
              </p:cNvSpPr>
              <p:nvPr/>
            </p:nvSpPr>
            <p:spPr bwMode="auto">
              <a:xfrm>
                <a:off x="5008" y="4537"/>
                <a:ext cx="58" cy="46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5 w 5"/>
                  <a:gd name="T19" fmla="*/ 2 h 4"/>
                  <a:gd name="T20" fmla="*/ 3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1"/>
                      <a:pt x="4" y="2"/>
                    </a:cubicBezTo>
                    <a:cubicBezTo>
                      <a:pt x="4" y="2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2" name="Freeform 125"/>
              <p:cNvSpPr>
                <a:spLocks/>
              </p:cNvSpPr>
              <p:nvPr/>
            </p:nvSpPr>
            <p:spPr bwMode="auto">
              <a:xfrm>
                <a:off x="4951" y="4537"/>
                <a:ext cx="57" cy="46"/>
              </a:xfrm>
              <a:custGeom>
                <a:avLst/>
                <a:gdLst>
                  <a:gd name="T0" fmla="*/ 2 w 5"/>
                  <a:gd name="T1" fmla="*/ 3 h 4"/>
                  <a:gd name="T2" fmla="*/ 1 w 5"/>
                  <a:gd name="T3" fmla="*/ 2 h 4"/>
                  <a:gd name="T4" fmla="*/ 2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2 w 5"/>
                  <a:gd name="T11" fmla="*/ 0 h 4"/>
                  <a:gd name="T12" fmla="*/ 0 w 5"/>
                  <a:gd name="T13" fmla="*/ 2 h 4"/>
                  <a:gd name="T14" fmla="*/ 2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2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3"/>
                    </a:move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3" name="Freeform 126"/>
              <p:cNvSpPr>
                <a:spLocks/>
              </p:cNvSpPr>
              <p:nvPr/>
            </p:nvSpPr>
            <p:spPr bwMode="auto">
              <a:xfrm>
                <a:off x="5008" y="4698"/>
                <a:ext cx="58" cy="46"/>
              </a:xfrm>
              <a:custGeom>
                <a:avLst/>
                <a:gdLst>
                  <a:gd name="T0" fmla="*/ 3 w 5"/>
                  <a:gd name="T1" fmla="*/ 0 h 4"/>
                  <a:gd name="T2" fmla="*/ 0 w 5"/>
                  <a:gd name="T3" fmla="*/ 0 h 4"/>
                  <a:gd name="T4" fmla="*/ 0 w 5"/>
                  <a:gd name="T5" fmla="*/ 1 h 4"/>
                  <a:gd name="T6" fmla="*/ 3 w 5"/>
                  <a:gd name="T7" fmla="*/ 1 h 4"/>
                  <a:gd name="T8" fmla="*/ 4 w 5"/>
                  <a:gd name="T9" fmla="*/ 2 h 4"/>
                  <a:gd name="T10" fmla="*/ 3 w 5"/>
                  <a:gd name="T11" fmla="*/ 3 h 4"/>
                  <a:gd name="T12" fmla="*/ 0 w 5"/>
                  <a:gd name="T13" fmla="*/ 3 h 4"/>
                  <a:gd name="T14" fmla="*/ 0 w 5"/>
                  <a:gd name="T15" fmla="*/ 4 h 4"/>
                  <a:gd name="T16" fmla="*/ 3 w 5"/>
                  <a:gd name="T17" fmla="*/ 4 h 4"/>
                  <a:gd name="T18" fmla="*/ 5 w 5"/>
                  <a:gd name="T19" fmla="*/ 2 h 4"/>
                  <a:gd name="T20" fmla="*/ 3 w 5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2"/>
                      <a:pt x="4" y="2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5" y="3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4" name="Freeform 127"/>
              <p:cNvSpPr>
                <a:spLocks/>
              </p:cNvSpPr>
              <p:nvPr/>
            </p:nvSpPr>
            <p:spPr bwMode="auto">
              <a:xfrm>
                <a:off x="4951" y="4698"/>
                <a:ext cx="57" cy="46"/>
              </a:xfrm>
              <a:custGeom>
                <a:avLst/>
                <a:gdLst>
                  <a:gd name="T0" fmla="*/ 2 w 5"/>
                  <a:gd name="T1" fmla="*/ 3 h 4"/>
                  <a:gd name="T2" fmla="*/ 1 w 5"/>
                  <a:gd name="T3" fmla="*/ 2 h 4"/>
                  <a:gd name="T4" fmla="*/ 2 w 5"/>
                  <a:gd name="T5" fmla="*/ 1 h 4"/>
                  <a:gd name="T6" fmla="*/ 5 w 5"/>
                  <a:gd name="T7" fmla="*/ 1 h 4"/>
                  <a:gd name="T8" fmla="*/ 5 w 5"/>
                  <a:gd name="T9" fmla="*/ 0 h 4"/>
                  <a:gd name="T10" fmla="*/ 2 w 5"/>
                  <a:gd name="T11" fmla="*/ 0 h 4"/>
                  <a:gd name="T12" fmla="*/ 0 w 5"/>
                  <a:gd name="T13" fmla="*/ 2 h 4"/>
                  <a:gd name="T14" fmla="*/ 2 w 5"/>
                  <a:gd name="T15" fmla="*/ 4 h 4"/>
                  <a:gd name="T16" fmla="*/ 5 w 5"/>
                  <a:gd name="T17" fmla="*/ 4 h 4"/>
                  <a:gd name="T18" fmla="*/ 5 w 5"/>
                  <a:gd name="T19" fmla="*/ 3 h 4"/>
                  <a:gd name="T20" fmla="*/ 2 w 5"/>
                  <a:gd name="T2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4">
                    <a:moveTo>
                      <a:pt x="2" y="3"/>
                    </a:moveTo>
                    <a:cubicBezTo>
                      <a:pt x="1" y="3"/>
                      <a:pt x="1" y="3"/>
                      <a:pt x="1" y="2"/>
                    </a:cubicBezTo>
                    <a:cubicBezTo>
                      <a:pt x="1" y="2"/>
                      <a:pt x="1" y="1"/>
                      <a:pt x="2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3"/>
                      <a:pt x="5" y="3"/>
                      <a:pt x="5" y="3"/>
                    </a:cubicBez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373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5" name="Rectangle 128"/>
              <p:cNvSpPr>
                <a:spLocks noChangeArrowheads="1"/>
              </p:cNvSpPr>
              <p:nvPr/>
            </p:nvSpPr>
            <p:spPr bwMode="auto">
              <a:xfrm>
                <a:off x="5147" y="3165"/>
                <a:ext cx="1291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6" name="Rectangle 129"/>
              <p:cNvSpPr>
                <a:spLocks noChangeArrowheads="1"/>
              </p:cNvSpPr>
              <p:nvPr/>
            </p:nvSpPr>
            <p:spPr bwMode="auto">
              <a:xfrm>
                <a:off x="5147" y="3165"/>
                <a:ext cx="129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7" name="Freeform 130"/>
              <p:cNvSpPr>
                <a:spLocks/>
              </p:cNvSpPr>
              <p:nvPr/>
            </p:nvSpPr>
            <p:spPr bwMode="auto">
              <a:xfrm>
                <a:off x="5147" y="3234"/>
                <a:ext cx="1291" cy="11"/>
              </a:xfrm>
              <a:custGeom>
                <a:avLst/>
                <a:gdLst>
                  <a:gd name="T0" fmla="*/ 0 w 1291"/>
                  <a:gd name="T1" fmla="*/ 11 h 11"/>
                  <a:gd name="T2" fmla="*/ 0 w 1291"/>
                  <a:gd name="T3" fmla="*/ 11 h 11"/>
                  <a:gd name="T4" fmla="*/ 1291 w 1291"/>
                  <a:gd name="T5" fmla="*/ 11 h 11"/>
                  <a:gd name="T6" fmla="*/ 1291 w 1291"/>
                  <a:gd name="T7" fmla="*/ 0 h 11"/>
                  <a:gd name="T8" fmla="*/ 0 w 1291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1" h="11">
                    <a:moveTo>
                      <a:pt x="0" y="11"/>
                    </a:moveTo>
                    <a:lnTo>
                      <a:pt x="0" y="11"/>
                    </a:lnTo>
                    <a:lnTo>
                      <a:pt x="1291" y="11"/>
                    </a:lnTo>
                    <a:lnTo>
                      <a:pt x="1291" y="0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8" name="Freeform 131"/>
              <p:cNvSpPr>
                <a:spLocks/>
              </p:cNvSpPr>
              <p:nvPr/>
            </p:nvSpPr>
            <p:spPr bwMode="auto">
              <a:xfrm>
                <a:off x="5147" y="3234"/>
                <a:ext cx="1291" cy="11"/>
              </a:xfrm>
              <a:custGeom>
                <a:avLst/>
                <a:gdLst>
                  <a:gd name="T0" fmla="*/ 0 w 1291"/>
                  <a:gd name="T1" fmla="*/ 11 h 11"/>
                  <a:gd name="T2" fmla="*/ 0 w 1291"/>
                  <a:gd name="T3" fmla="*/ 11 h 11"/>
                  <a:gd name="T4" fmla="*/ 1291 w 1291"/>
                  <a:gd name="T5" fmla="*/ 11 h 11"/>
                  <a:gd name="T6" fmla="*/ 1291 w 1291"/>
                  <a:gd name="T7" fmla="*/ 0 h 11"/>
                  <a:gd name="T8" fmla="*/ 0 w 1291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1" h="11">
                    <a:moveTo>
                      <a:pt x="0" y="11"/>
                    </a:moveTo>
                    <a:lnTo>
                      <a:pt x="0" y="11"/>
                    </a:lnTo>
                    <a:lnTo>
                      <a:pt x="1291" y="11"/>
                    </a:lnTo>
                    <a:lnTo>
                      <a:pt x="1291" y="0"/>
                    </a:lnTo>
                    <a:lnTo>
                      <a:pt x="0" y="11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59" name="Rectangle 132"/>
              <p:cNvSpPr>
                <a:spLocks noChangeArrowheads="1"/>
              </p:cNvSpPr>
              <p:nvPr/>
            </p:nvSpPr>
            <p:spPr bwMode="auto">
              <a:xfrm>
                <a:off x="5147" y="3314"/>
                <a:ext cx="1291" cy="12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0" name="Rectangle 133"/>
              <p:cNvSpPr>
                <a:spLocks noChangeArrowheads="1"/>
              </p:cNvSpPr>
              <p:nvPr/>
            </p:nvSpPr>
            <p:spPr bwMode="auto">
              <a:xfrm>
                <a:off x="5147" y="3314"/>
                <a:ext cx="1291" cy="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1" name="Rectangle 134"/>
              <p:cNvSpPr>
                <a:spLocks noChangeArrowheads="1"/>
              </p:cNvSpPr>
              <p:nvPr/>
            </p:nvSpPr>
            <p:spPr bwMode="auto">
              <a:xfrm>
                <a:off x="5147" y="3395"/>
                <a:ext cx="1291" cy="12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2" name="Rectangle 135"/>
              <p:cNvSpPr>
                <a:spLocks noChangeArrowheads="1"/>
              </p:cNvSpPr>
              <p:nvPr/>
            </p:nvSpPr>
            <p:spPr bwMode="auto">
              <a:xfrm>
                <a:off x="5147" y="3395"/>
                <a:ext cx="1291" cy="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3" name="Rectangle 136"/>
              <p:cNvSpPr>
                <a:spLocks noChangeArrowheads="1"/>
              </p:cNvSpPr>
              <p:nvPr/>
            </p:nvSpPr>
            <p:spPr bwMode="auto">
              <a:xfrm>
                <a:off x="5147" y="3476"/>
                <a:ext cx="1279" cy="1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4" name="Rectangle 137"/>
              <p:cNvSpPr>
                <a:spLocks noChangeArrowheads="1"/>
              </p:cNvSpPr>
              <p:nvPr/>
            </p:nvSpPr>
            <p:spPr bwMode="auto">
              <a:xfrm>
                <a:off x="5147" y="3476"/>
                <a:ext cx="1279" cy="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5" name="Freeform 138"/>
              <p:cNvSpPr>
                <a:spLocks/>
              </p:cNvSpPr>
              <p:nvPr/>
            </p:nvSpPr>
            <p:spPr bwMode="auto">
              <a:xfrm>
                <a:off x="5147" y="3557"/>
                <a:ext cx="1279" cy="11"/>
              </a:xfrm>
              <a:custGeom>
                <a:avLst/>
                <a:gdLst>
                  <a:gd name="T0" fmla="*/ 0 w 1279"/>
                  <a:gd name="T1" fmla="*/ 0 h 11"/>
                  <a:gd name="T2" fmla="*/ 0 w 1279"/>
                  <a:gd name="T3" fmla="*/ 11 h 11"/>
                  <a:gd name="T4" fmla="*/ 1279 w 1279"/>
                  <a:gd name="T5" fmla="*/ 0 h 11"/>
                  <a:gd name="T6" fmla="*/ 1279 w 1279"/>
                  <a:gd name="T7" fmla="*/ 0 h 11"/>
                  <a:gd name="T8" fmla="*/ 0 w 1279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9" h="11">
                    <a:moveTo>
                      <a:pt x="0" y="0"/>
                    </a:moveTo>
                    <a:lnTo>
                      <a:pt x="0" y="11"/>
                    </a:lnTo>
                    <a:lnTo>
                      <a:pt x="1279" y="0"/>
                    </a:lnTo>
                    <a:lnTo>
                      <a:pt x="12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6" name="Freeform 139"/>
              <p:cNvSpPr>
                <a:spLocks/>
              </p:cNvSpPr>
              <p:nvPr/>
            </p:nvSpPr>
            <p:spPr bwMode="auto">
              <a:xfrm>
                <a:off x="5147" y="3557"/>
                <a:ext cx="1279" cy="11"/>
              </a:xfrm>
              <a:custGeom>
                <a:avLst/>
                <a:gdLst>
                  <a:gd name="T0" fmla="*/ 0 w 1279"/>
                  <a:gd name="T1" fmla="*/ 0 h 11"/>
                  <a:gd name="T2" fmla="*/ 0 w 1279"/>
                  <a:gd name="T3" fmla="*/ 11 h 11"/>
                  <a:gd name="T4" fmla="*/ 1279 w 1279"/>
                  <a:gd name="T5" fmla="*/ 0 h 11"/>
                  <a:gd name="T6" fmla="*/ 1279 w 1279"/>
                  <a:gd name="T7" fmla="*/ 0 h 11"/>
                  <a:gd name="T8" fmla="*/ 0 w 1279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9" h="11">
                    <a:moveTo>
                      <a:pt x="0" y="0"/>
                    </a:moveTo>
                    <a:lnTo>
                      <a:pt x="0" y="11"/>
                    </a:lnTo>
                    <a:lnTo>
                      <a:pt x="1279" y="0"/>
                    </a:lnTo>
                    <a:lnTo>
                      <a:pt x="1279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7" name="Rectangle 140"/>
              <p:cNvSpPr>
                <a:spLocks noChangeArrowheads="1"/>
              </p:cNvSpPr>
              <p:nvPr/>
            </p:nvSpPr>
            <p:spPr bwMode="auto">
              <a:xfrm>
                <a:off x="5147" y="3637"/>
                <a:ext cx="1279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8" name="Rectangle 141"/>
              <p:cNvSpPr>
                <a:spLocks noChangeArrowheads="1"/>
              </p:cNvSpPr>
              <p:nvPr/>
            </p:nvSpPr>
            <p:spPr bwMode="auto">
              <a:xfrm>
                <a:off x="5147" y="3637"/>
                <a:ext cx="1279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69" name="Rectangle 142"/>
              <p:cNvSpPr>
                <a:spLocks noChangeArrowheads="1"/>
              </p:cNvSpPr>
              <p:nvPr/>
            </p:nvSpPr>
            <p:spPr bwMode="auto">
              <a:xfrm>
                <a:off x="5147" y="3718"/>
                <a:ext cx="1279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0" name="Rectangle 143"/>
              <p:cNvSpPr>
                <a:spLocks noChangeArrowheads="1"/>
              </p:cNvSpPr>
              <p:nvPr/>
            </p:nvSpPr>
            <p:spPr bwMode="auto">
              <a:xfrm>
                <a:off x="5147" y="3718"/>
                <a:ext cx="1279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1" name="Rectangle 144"/>
              <p:cNvSpPr>
                <a:spLocks noChangeArrowheads="1"/>
              </p:cNvSpPr>
              <p:nvPr/>
            </p:nvSpPr>
            <p:spPr bwMode="auto">
              <a:xfrm>
                <a:off x="5135" y="3799"/>
                <a:ext cx="1291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2" name="Rectangle 145"/>
              <p:cNvSpPr>
                <a:spLocks noChangeArrowheads="1"/>
              </p:cNvSpPr>
              <p:nvPr/>
            </p:nvSpPr>
            <p:spPr bwMode="auto">
              <a:xfrm>
                <a:off x="5135" y="3799"/>
                <a:ext cx="129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3" name="Rectangle 146"/>
              <p:cNvSpPr>
                <a:spLocks noChangeArrowheads="1"/>
              </p:cNvSpPr>
              <p:nvPr/>
            </p:nvSpPr>
            <p:spPr bwMode="auto">
              <a:xfrm>
                <a:off x="5135" y="3879"/>
                <a:ext cx="1291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4" name="Rectangle 147"/>
              <p:cNvSpPr>
                <a:spLocks noChangeArrowheads="1"/>
              </p:cNvSpPr>
              <p:nvPr/>
            </p:nvSpPr>
            <p:spPr bwMode="auto">
              <a:xfrm>
                <a:off x="5135" y="3879"/>
                <a:ext cx="129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5" name="Rectangle 148"/>
              <p:cNvSpPr>
                <a:spLocks noChangeArrowheads="1"/>
              </p:cNvSpPr>
              <p:nvPr/>
            </p:nvSpPr>
            <p:spPr bwMode="auto">
              <a:xfrm>
                <a:off x="5135" y="3960"/>
                <a:ext cx="1291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6" name="Rectangle 149"/>
              <p:cNvSpPr>
                <a:spLocks noChangeArrowheads="1"/>
              </p:cNvSpPr>
              <p:nvPr/>
            </p:nvSpPr>
            <p:spPr bwMode="auto">
              <a:xfrm>
                <a:off x="5135" y="3960"/>
                <a:ext cx="129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7" name="Rectangle 150"/>
              <p:cNvSpPr>
                <a:spLocks noChangeArrowheads="1"/>
              </p:cNvSpPr>
              <p:nvPr/>
            </p:nvSpPr>
            <p:spPr bwMode="auto">
              <a:xfrm>
                <a:off x="5135" y="4041"/>
                <a:ext cx="1291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8" name="Rectangle 151"/>
              <p:cNvSpPr>
                <a:spLocks noChangeArrowheads="1"/>
              </p:cNvSpPr>
              <p:nvPr/>
            </p:nvSpPr>
            <p:spPr bwMode="auto">
              <a:xfrm>
                <a:off x="5135" y="4041"/>
                <a:ext cx="129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79" name="Rectangle 152"/>
              <p:cNvSpPr>
                <a:spLocks noChangeArrowheads="1"/>
              </p:cNvSpPr>
              <p:nvPr/>
            </p:nvSpPr>
            <p:spPr bwMode="auto">
              <a:xfrm>
                <a:off x="5135" y="4122"/>
                <a:ext cx="1291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0" name="Rectangle 153"/>
              <p:cNvSpPr>
                <a:spLocks noChangeArrowheads="1"/>
              </p:cNvSpPr>
              <p:nvPr/>
            </p:nvSpPr>
            <p:spPr bwMode="auto">
              <a:xfrm>
                <a:off x="5135" y="4122"/>
                <a:ext cx="129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1" name="Rectangle 154"/>
              <p:cNvSpPr>
                <a:spLocks noChangeArrowheads="1"/>
              </p:cNvSpPr>
              <p:nvPr/>
            </p:nvSpPr>
            <p:spPr bwMode="auto">
              <a:xfrm>
                <a:off x="5135" y="4202"/>
                <a:ext cx="1291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2" name="Rectangle 155"/>
              <p:cNvSpPr>
                <a:spLocks noChangeArrowheads="1"/>
              </p:cNvSpPr>
              <p:nvPr/>
            </p:nvSpPr>
            <p:spPr bwMode="auto">
              <a:xfrm>
                <a:off x="5135" y="4202"/>
                <a:ext cx="1291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3" name="Rectangle 156"/>
              <p:cNvSpPr>
                <a:spLocks noChangeArrowheads="1"/>
              </p:cNvSpPr>
              <p:nvPr/>
            </p:nvSpPr>
            <p:spPr bwMode="auto">
              <a:xfrm>
                <a:off x="5135" y="4272"/>
                <a:ext cx="1291" cy="1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4" name="Rectangle 157"/>
              <p:cNvSpPr>
                <a:spLocks noChangeArrowheads="1"/>
              </p:cNvSpPr>
              <p:nvPr/>
            </p:nvSpPr>
            <p:spPr bwMode="auto">
              <a:xfrm>
                <a:off x="5135" y="4272"/>
                <a:ext cx="1291" cy="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5" name="Rectangle 158"/>
              <p:cNvSpPr>
                <a:spLocks noChangeArrowheads="1"/>
              </p:cNvSpPr>
              <p:nvPr/>
            </p:nvSpPr>
            <p:spPr bwMode="auto">
              <a:xfrm>
                <a:off x="5135" y="4352"/>
                <a:ext cx="1291" cy="12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6" name="Rectangle 159"/>
              <p:cNvSpPr>
                <a:spLocks noChangeArrowheads="1"/>
              </p:cNvSpPr>
              <p:nvPr/>
            </p:nvSpPr>
            <p:spPr bwMode="auto">
              <a:xfrm>
                <a:off x="5135" y="4352"/>
                <a:ext cx="1291" cy="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7" name="Rectangle 160"/>
              <p:cNvSpPr>
                <a:spLocks noChangeArrowheads="1"/>
              </p:cNvSpPr>
              <p:nvPr/>
            </p:nvSpPr>
            <p:spPr bwMode="auto">
              <a:xfrm>
                <a:off x="5135" y="4433"/>
                <a:ext cx="1291" cy="12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8" name="Rectangle 161"/>
              <p:cNvSpPr>
                <a:spLocks noChangeArrowheads="1"/>
              </p:cNvSpPr>
              <p:nvPr/>
            </p:nvSpPr>
            <p:spPr bwMode="auto">
              <a:xfrm>
                <a:off x="5135" y="4433"/>
                <a:ext cx="1291" cy="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89" name="Freeform 162"/>
              <p:cNvSpPr>
                <a:spLocks/>
              </p:cNvSpPr>
              <p:nvPr/>
            </p:nvSpPr>
            <p:spPr bwMode="auto">
              <a:xfrm>
                <a:off x="5135" y="4514"/>
                <a:ext cx="1280" cy="11"/>
              </a:xfrm>
              <a:custGeom>
                <a:avLst/>
                <a:gdLst>
                  <a:gd name="T0" fmla="*/ 0 w 1280"/>
                  <a:gd name="T1" fmla="*/ 0 h 11"/>
                  <a:gd name="T2" fmla="*/ 0 w 1280"/>
                  <a:gd name="T3" fmla="*/ 11 h 11"/>
                  <a:gd name="T4" fmla="*/ 1280 w 1280"/>
                  <a:gd name="T5" fmla="*/ 0 h 11"/>
                  <a:gd name="T6" fmla="*/ 1280 w 1280"/>
                  <a:gd name="T7" fmla="*/ 0 h 11"/>
                  <a:gd name="T8" fmla="*/ 0 w 1280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0" h="11">
                    <a:moveTo>
                      <a:pt x="0" y="0"/>
                    </a:moveTo>
                    <a:lnTo>
                      <a:pt x="0" y="11"/>
                    </a:lnTo>
                    <a:lnTo>
                      <a:pt x="1280" y="0"/>
                    </a:lnTo>
                    <a:lnTo>
                      <a:pt x="128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0" name="Freeform 163"/>
              <p:cNvSpPr>
                <a:spLocks/>
              </p:cNvSpPr>
              <p:nvPr/>
            </p:nvSpPr>
            <p:spPr bwMode="auto">
              <a:xfrm>
                <a:off x="5135" y="4514"/>
                <a:ext cx="1280" cy="11"/>
              </a:xfrm>
              <a:custGeom>
                <a:avLst/>
                <a:gdLst>
                  <a:gd name="T0" fmla="*/ 0 w 1280"/>
                  <a:gd name="T1" fmla="*/ 0 h 11"/>
                  <a:gd name="T2" fmla="*/ 0 w 1280"/>
                  <a:gd name="T3" fmla="*/ 11 h 11"/>
                  <a:gd name="T4" fmla="*/ 1280 w 1280"/>
                  <a:gd name="T5" fmla="*/ 0 h 11"/>
                  <a:gd name="T6" fmla="*/ 1280 w 1280"/>
                  <a:gd name="T7" fmla="*/ 0 h 11"/>
                  <a:gd name="T8" fmla="*/ 0 w 1280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0" h="11">
                    <a:moveTo>
                      <a:pt x="0" y="0"/>
                    </a:moveTo>
                    <a:lnTo>
                      <a:pt x="0" y="11"/>
                    </a:lnTo>
                    <a:lnTo>
                      <a:pt x="1280" y="0"/>
                    </a:lnTo>
                    <a:lnTo>
                      <a:pt x="128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1" name="Rectangle 164"/>
              <p:cNvSpPr>
                <a:spLocks noChangeArrowheads="1"/>
              </p:cNvSpPr>
              <p:nvPr/>
            </p:nvSpPr>
            <p:spPr bwMode="auto">
              <a:xfrm>
                <a:off x="5135" y="4594"/>
                <a:ext cx="1280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2" name="Rectangle 165"/>
              <p:cNvSpPr>
                <a:spLocks noChangeArrowheads="1"/>
              </p:cNvSpPr>
              <p:nvPr/>
            </p:nvSpPr>
            <p:spPr bwMode="auto">
              <a:xfrm>
                <a:off x="5135" y="4594"/>
                <a:ext cx="1280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3" name="Rectangle 166"/>
              <p:cNvSpPr>
                <a:spLocks noChangeArrowheads="1"/>
              </p:cNvSpPr>
              <p:nvPr/>
            </p:nvSpPr>
            <p:spPr bwMode="auto">
              <a:xfrm>
                <a:off x="5135" y="4675"/>
                <a:ext cx="1280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4" name="Rectangle 167"/>
              <p:cNvSpPr>
                <a:spLocks noChangeArrowheads="1"/>
              </p:cNvSpPr>
              <p:nvPr/>
            </p:nvSpPr>
            <p:spPr bwMode="auto">
              <a:xfrm>
                <a:off x="5135" y="4675"/>
                <a:ext cx="1280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5" name="Rectangle 168"/>
              <p:cNvSpPr>
                <a:spLocks noChangeArrowheads="1"/>
              </p:cNvSpPr>
              <p:nvPr/>
            </p:nvSpPr>
            <p:spPr bwMode="auto">
              <a:xfrm>
                <a:off x="5135" y="4756"/>
                <a:ext cx="1038" cy="1"/>
              </a:xfrm>
              <a:prstGeom prst="rect">
                <a:avLst/>
              </a:prstGeom>
              <a:solidFill>
                <a:srgbClr val="5E54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6" name="Rectangle 169"/>
              <p:cNvSpPr>
                <a:spLocks noChangeArrowheads="1"/>
              </p:cNvSpPr>
              <p:nvPr/>
            </p:nvSpPr>
            <p:spPr bwMode="auto">
              <a:xfrm>
                <a:off x="5135" y="4756"/>
                <a:ext cx="1038" cy="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7" name="Freeform 170"/>
              <p:cNvSpPr>
                <a:spLocks noEditPoints="1"/>
              </p:cNvSpPr>
              <p:nvPr/>
            </p:nvSpPr>
            <p:spPr bwMode="auto">
              <a:xfrm>
                <a:off x="5389" y="3118"/>
                <a:ext cx="496" cy="289"/>
              </a:xfrm>
              <a:custGeom>
                <a:avLst/>
                <a:gdLst>
                  <a:gd name="T0" fmla="*/ 17 w 43"/>
                  <a:gd name="T1" fmla="*/ 25 h 25"/>
                  <a:gd name="T2" fmla="*/ 16 w 43"/>
                  <a:gd name="T3" fmla="*/ 25 h 25"/>
                  <a:gd name="T4" fmla="*/ 16 w 43"/>
                  <a:gd name="T5" fmla="*/ 25 h 25"/>
                  <a:gd name="T6" fmla="*/ 17 w 43"/>
                  <a:gd name="T7" fmla="*/ 25 h 25"/>
                  <a:gd name="T8" fmla="*/ 19 w 43"/>
                  <a:gd name="T9" fmla="*/ 18 h 25"/>
                  <a:gd name="T10" fmla="*/ 0 w 43"/>
                  <a:gd name="T11" fmla="*/ 18 h 25"/>
                  <a:gd name="T12" fmla="*/ 7 w 43"/>
                  <a:gd name="T13" fmla="*/ 22 h 25"/>
                  <a:gd name="T14" fmla="*/ 16 w 43"/>
                  <a:gd name="T15" fmla="*/ 20 h 25"/>
                  <a:gd name="T16" fmla="*/ 16 w 43"/>
                  <a:gd name="T17" fmla="*/ 24 h 25"/>
                  <a:gd name="T18" fmla="*/ 17 w 43"/>
                  <a:gd name="T19" fmla="*/ 24 h 25"/>
                  <a:gd name="T20" fmla="*/ 20 w 43"/>
                  <a:gd name="T21" fmla="*/ 22 h 25"/>
                  <a:gd name="T22" fmla="*/ 19 w 43"/>
                  <a:gd name="T23" fmla="*/ 18 h 25"/>
                  <a:gd name="T24" fmla="*/ 19 w 43"/>
                  <a:gd name="T25" fmla="*/ 11 h 25"/>
                  <a:gd name="T26" fmla="*/ 5 w 43"/>
                  <a:gd name="T27" fmla="*/ 11 h 25"/>
                  <a:gd name="T28" fmla="*/ 2 w 43"/>
                  <a:gd name="T29" fmla="*/ 13 h 25"/>
                  <a:gd name="T30" fmla="*/ 2 w 43"/>
                  <a:gd name="T31" fmla="*/ 13 h 25"/>
                  <a:gd name="T32" fmla="*/ 0 w 43"/>
                  <a:gd name="T33" fmla="*/ 17 h 25"/>
                  <a:gd name="T34" fmla="*/ 19 w 43"/>
                  <a:gd name="T35" fmla="*/ 17 h 25"/>
                  <a:gd name="T36" fmla="*/ 19 w 43"/>
                  <a:gd name="T37" fmla="*/ 15 h 25"/>
                  <a:gd name="T38" fmla="*/ 19 w 43"/>
                  <a:gd name="T39" fmla="*/ 11 h 25"/>
                  <a:gd name="T40" fmla="*/ 34 w 43"/>
                  <a:gd name="T41" fmla="*/ 11 h 25"/>
                  <a:gd name="T42" fmla="*/ 32 w 43"/>
                  <a:gd name="T43" fmla="*/ 11 h 25"/>
                  <a:gd name="T44" fmla="*/ 32 w 43"/>
                  <a:gd name="T45" fmla="*/ 12 h 25"/>
                  <a:gd name="T46" fmla="*/ 34 w 43"/>
                  <a:gd name="T47" fmla="*/ 11 h 25"/>
                  <a:gd name="T48" fmla="*/ 20 w 43"/>
                  <a:gd name="T49" fmla="*/ 5 h 25"/>
                  <a:gd name="T50" fmla="*/ 12 w 43"/>
                  <a:gd name="T51" fmla="*/ 8 h 25"/>
                  <a:gd name="T52" fmla="*/ 12 w 43"/>
                  <a:gd name="T53" fmla="*/ 8 h 25"/>
                  <a:gd name="T54" fmla="*/ 5 w 43"/>
                  <a:gd name="T55" fmla="*/ 11 h 25"/>
                  <a:gd name="T56" fmla="*/ 20 w 43"/>
                  <a:gd name="T57" fmla="*/ 11 h 25"/>
                  <a:gd name="T58" fmla="*/ 20 w 43"/>
                  <a:gd name="T59" fmla="*/ 5 h 25"/>
                  <a:gd name="T60" fmla="*/ 43 w 43"/>
                  <a:gd name="T61" fmla="*/ 4 h 25"/>
                  <a:gd name="T62" fmla="*/ 29 w 43"/>
                  <a:gd name="T63" fmla="*/ 4 h 25"/>
                  <a:gd name="T64" fmla="*/ 32 w 43"/>
                  <a:gd name="T65" fmla="*/ 11 h 25"/>
                  <a:gd name="T66" fmla="*/ 34 w 43"/>
                  <a:gd name="T67" fmla="*/ 11 h 25"/>
                  <a:gd name="T68" fmla="*/ 43 w 43"/>
                  <a:gd name="T69" fmla="*/ 4 h 25"/>
                  <a:gd name="T70" fmla="*/ 34 w 43"/>
                  <a:gd name="T71" fmla="*/ 0 h 25"/>
                  <a:gd name="T72" fmla="*/ 29 w 43"/>
                  <a:gd name="T73" fmla="*/ 1 h 25"/>
                  <a:gd name="T74" fmla="*/ 27 w 43"/>
                  <a:gd name="T75" fmla="*/ 1 h 25"/>
                  <a:gd name="T76" fmla="*/ 29 w 43"/>
                  <a:gd name="T77" fmla="*/ 4 h 25"/>
                  <a:gd name="T78" fmla="*/ 43 w 43"/>
                  <a:gd name="T79" fmla="*/ 4 h 25"/>
                  <a:gd name="T80" fmla="*/ 34 w 43"/>
                  <a:gd name="T81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3" h="25">
                    <a:moveTo>
                      <a:pt x="17" y="25"/>
                    </a:moveTo>
                    <a:cubicBezTo>
                      <a:pt x="16" y="25"/>
                      <a:pt x="16" y="25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17" y="25"/>
                      <a:pt x="17" y="25"/>
                      <a:pt x="17" y="25"/>
                    </a:cubicBezTo>
                    <a:moveTo>
                      <a:pt x="19" y="18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1" y="20"/>
                      <a:pt x="3" y="22"/>
                      <a:pt x="7" y="22"/>
                    </a:cubicBezTo>
                    <a:cubicBezTo>
                      <a:pt x="9" y="22"/>
                      <a:pt x="13" y="21"/>
                      <a:pt x="16" y="20"/>
                    </a:cubicBezTo>
                    <a:cubicBezTo>
                      <a:pt x="16" y="21"/>
                      <a:pt x="16" y="23"/>
                      <a:pt x="16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21"/>
                      <a:pt x="19" y="19"/>
                      <a:pt x="19" y="18"/>
                    </a:cubicBezTo>
                    <a:moveTo>
                      <a:pt x="19" y="11"/>
                    </a:move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0" y="14"/>
                      <a:pt x="0" y="16"/>
                      <a:pt x="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19" y="17"/>
                      <a:pt x="19" y="16"/>
                      <a:pt x="19" y="15"/>
                    </a:cubicBezTo>
                    <a:cubicBezTo>
                      <a:pt x="19" y="14"/>
                      <a:pt x="19" y="12"/>
                      <a:pt x="19" y="11"/>
                    </a:cubicBezTo>
                    <a:moveTo>
                      <a:pt x="34" y="11"/>
                    </a:move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11"/>
                      <a:pt x="32" y="12"/>
                      <a:pt x="32" y="12"/>
                    </a:cubicBezTo>
                    <a:cubicBezTo>
                      <a:pt x="34" y="11"/>
                      <a:pt x="34" y="11"/>
                      <a:pt x="34" y="11"/>
                    </a:cubicBezTo>
                    <a:moveTo>
                      <a:pt x="20" y="5"/>
                    </a:moveTo>
                    <a:cubicBezTo>
                      <a:pt x="18" y="6"/>
                      <a:pt x="15" y="7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8"/>
                      <a:pt x="8" y="9"/>
                      <a:pt x="5" y="11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0" y="8"/>
                      <a:pt x="20" y="6"/>
                      <a:pt x="20" y="5"/>
                    </a:cubicBezTo>
                    <a:moveTo>
                      <a:pt x="43" y="4"/>
                    </a:moveTo>
                    <a:cubicBezTo>
                      <a:pt x="29" y="4"/>
                      <a:pt x="29" y="4"/>
                      <a:pt x="29" y="4"/>
                    </a:cubicBezTo>
                    <a:cubicBezTo>
                      <a:pt x="30" y="6"/>
                      <a:pt x="31" y="8"/>
                      <a:pt x="32" y="11"/>
                    </a:cubicBezTo>
                    <a:cubicBezTo>
                      <a:pt x="34" y="11"/>
                      <a:pt x="34" y="11"/>
                      <a:pt x="34" y="11"/>
                    </a:cubicBezTo>
                    <a:cubicBezTo>
                      <a:pt x="43" y="4"/>
                      <a:pt x="43" y="4"/>
                      <a:pt x="43" y="4"/>
                    </a:cubicBezTo>
                    <a:moveTo>
                      <a:pt x="34" y="0"/>
                    </a:moveTo>
                    <a:cubicBezTo>
                      <a:pt x="32" y="0"/>
                      <a:pt x="30" y="0"/>
                      <a:pt x="29" y="1"/>
                    </a:cubicBezTo>
                    <a:cubicBezTo>
                      <a:pt x="28" y="1"/>
                      <a:pt x="28" y="1"/>
                      <a:pt x="27" y="1"/>
                    </a:cubicBezTo>
                    <a:cubicBezTo>
                      <a:pt x="28" y="2"/>
                      <a:pt x="29" y="3"/>
                      <a:pt x="29" y="4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42" y="3"/>
                      <a:pt x="38" y="0"/>
                      <a:pt x="34" y="0"/>
                    </a:cubicBezTo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8" name="Freeform 171"/>
              <p:cNvSpPr>
                <a:spLocks/>
              </p:cNvSpPr>
              <p:nvPr/>
            </p:nvSpPr>
            <p:spPr bwMode="auto">
              <a:xfrm>
                <a:off x="5723" y="3165"/>
                <a:ext cx="162" cy="0"/>
              </a:xfrm>
              <a:custGeom>
                <a:avLst/>
                <a:gdLst>
                  <a:gd name="T0" fmla="*/ 14 w 14"/>
                  <a:gd name="T1" fmla="*/ 0 w 14"/>
                  <a:gd name="T2" fmla="*/ 0 w 14"/>
                  <a:gd name="T3" fmla="*/ 14 w 14"/>
                  <a:gd name="T4" fmla="*/ 14 w 14"/>
                  <a:gd name="T5" fmla="*/ 14 w 1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4">
                    <a:moveTo>
                      <a:pt x="1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499" name="Freeform 172"/>
              <p:cNvSpPr>
                <a:spLocks noEditPoints="1"/>
              </p:cNvSpPr>
              <p:nvPr/>
            </p:nvSpPr>
            <p:spPr bwMode="auto">
              <a:xfrm>
                <a:off x="5446" y="3245"/>
                <a:ext cx="335" cy="0"/>
              </a:xfrm>
              <a:custGeom>
                <a:avLst/>
                <a:gdLst>
                  <a:gd name="T0" fmla="*/ 15 w 29"/>
                  <a:gd name="T1" fmla="*/ 0 w 29"/>
                  <a:gd name="T2" fmla="*/ 0 w 29"/>
                  <a:gd name="T3" fmla="*/ 14 w 29"/>
                  <a:gd name="T4" fmla="*/ 15 w 29"/>
                  <a:gd name="T5" fmla="*/ 29 w 29"/>
                  <a:gd name="T6" fmla="*/ 27 w 29"/>
                  <a:gd name="T7" fmla="*/ 27 w 29"/>
                  <a:gd name="T8" fmla="*/ 29 w 29"/>
                  <a:gd name="T9" fmla="*/ 29 w 2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</a:cxnLst>
                <a:rect l="0" t="0" r="r" b="b"/>
                <a:pathLst>
                  <a:path w="29">
                    <a:moveTo>
                      <a:pt x="1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5" y="0"/>
                      <a:pt x="15" y="0"/>
                    </a:cubicBezTo>
                    <a:moveTo>
                      <a:pt x="29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0" name="Freeform 173"/>
              <p:cNvSpPr>
                <a:spLocks/>
              </p:cNvSpPr>
              <p:nvPr/>
            </p:nvSpPr>
            <p:spPr bwMode="auto">
              <a:xfrm>
                <a:off x="5389" y="3314"/>
                <a:ext cx="219" cy="12"/>
              </a:xfrm>
              <a:custGeom>
                <a:avLst/>
                <a:gdLst>
                  <a:gd name="T0" fmla="*/ 19 w 19"/>
                  <a:gd name="T1" fmla="*/ 0 h 1"/>
                  <a:gd name="T2" fmla="*/ 0 w 19"/>
                  <a:gd name="T3" fmla="*/ 0 h 1"/>
                  <a:gd name="T4" fmla="*/ 0 w 19"/>
                  <a:gd name="T5" fmla="*/ 1 h 1"/>
                  <a:gd name="T6" fmla="*/ 19 w 19"/>
                  <a:gd name="T7" fmla="*/ 1 h 1"/>
                  <a:gd name="T8" fmla="*/ 19 w 19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1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19" y="1"/>
                      <a:pt x="19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1" name="Freeform 174"/>
              <p:cNvSpPr>
                <a:spLocks/>
              </p:cNvSpPr>
              <p:nvPr/>
            </p:nvSpPr>
            <p:spPr bwMode="auto">
              <a:xfrm>
                <a:off x="5573" y="3395"/>
                <a:ext cx="12" cy="12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1 h 1"/>
                  <a:gd name="T8" fmla="*/ 1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2" name="Freeform 175"/>
              <p:cNvSpPr>
                <a:spLocks noEditPoints="1"/>
              </p:cNvSpPr>
              <p:nvPr/>
            </p:nvSpPr>
            <p:spPr bwMode="auto">
              <a:xfrm>
                <a:off x="5873" y="3326"/>
                <a:ext cx="104" cy="150"/>
              </a:xfrm>
              <a:custGeom>
                <a:avLst/>
                <a:gdLst>
                  <a:gd name="T0" fmla="*/ 9 w 9"/>
                  <a:gd name="T1" fmla="*/ 7 h 13"/>
                  <a:gd name="T2" fmla="*/ 2 w 9"/>
                  <a:gd name="T3" fmla="*/ 7 h 13"/>
                  <a:gd name="T4" fmla="*/ 3 w 9"/>
                  <a:gd name="T5" fmla="*/ 10 h 13"/>
                  <a:gd name="T6" fmla="*/ 0 w 9"/>
                  <a:gd name="T7" fmla="*/ 13 h 13"/>
                  <a:gd name="T8" fmla="*/ 9 w 9"/>
                  <a:gd name="T9" fmla="*/ 13 h 13"/>
                  <a:gd name="T10" fmla="*/ 9 w 9"/>
                  <a:gd name="T11" fmla="*/ 12 h 13"/>
                  <a:gd name="T12" fmla="*/ 9 w 9"/>
                  <a:gd name="T13" fmla="*/ 10 h 13"/>
                  <a:gd name="T14" fmla="*/ 9 w 9"/>
                  <a:gd name="T15" fmla="*/ 7 h 13"/>
                  <a:gd name="T16" fmla="*/ 7 w 9"/>
                  <a:gd name="T17" fmla="*/ 0 h 13"/>
                  <a:gd name="T18" fmla="*/ 1 w 9"/>
                  <a:gd name="T19" fmla="*/ 4 h 13"/>
                  <a:gd name="T20" fmla="*/ 2 w 9"/>
                  <a:gd name="T21" fmla="*/ 6 h 13"/>
                  <a:gd name="T22" fmla="*/ 9 w 9"/>
                  <a:gd name="T23" fmla="*/ 6 h 13"/>
                  <a:gd name="T24" fmla="*/ 7 w 9"/>
                  <a:gd name="T2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" h="13">
                    <a:moveTo>
                      <a:pt x="9" y="7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3" y="8"/>
                      <a:pt x="3" y="9"/>
                      <a:pt x="3" y="1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3"/>
                      <a:pt x="9" y="12"/>
                      <a:pt x="9" y="12"/>
                    </a:cubicBezTo>
                    <a:cubicBezTo>
                      <a:pt x="9" y="11"/>
                      <a:pt x="9" y="10"/>
                      <a:pt x="9" y="10"/>
                    </a:cubicBezTo>
                    <a:cubicBezTo>
                      <a:pt x="9" y="9"/>
                      <a:pt x="9" y="8"/>
                      <a:pt x="9" y="7"/>
                    </a:cubicBezTo>
                    <a:moveTo>
                      <a:pt x="7" y="0"/>
                    </a:move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2" y="5"/>
                      <a:pt x="2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8" y="4"/>
                      <a:pt x="8" y="2"/>
                      <a:pt x="7" y="0"/>
                    </a:cubicBezTo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3" name="Freeform 176"/>
              <p:cNvSpPr>
                <a:spLocks/>
              </p:cNvSpPr>
              <p:nvPr/>
            </p:nvSpPr>
            <p:spPr bwMode="auto">
              <a:xfrm>
                <a:off x="5896" y="3395"/>
                <a:ext cx="81" cy="12"/>
              </a:xfrm>
              <a:custGeom>
                <a:avLst/>
                <a:gdLst>
                  <a:gd name="T0" fmla="*/ 7 w 7"/>
                  <a:gd name="T1" fmla="*/ 0 h 1"/>
                  <a:gd name="T2" fmla="*/ 0 w 7"/>
                  <a:gd name="T3" fmla="*/ 0 h 1"/>
                  <a:gd name="T4" fmla="*/ 0 w 7"/>
                  <a:gd name="T5" fmla="*/ 1 h 1"/>
                  <a:gd name="T6" fmla="*/ 7 w 7"/>
                  <a:gd name="T7" fmla="*/ 1 h 1"/>
                  <a:gd name="T8" fmla="*/ 7 w 7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0"/>
                      <a:pt x="7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4" name="Freeform 177"/>
              <p:cNvSpPr>
                <a:spLocks noEditPoints="1"/>
              </p:cNvSpPr>
              <p:nvPr/>
            </p:nvSpPr>
            <p:spPr bwMode="auto">
              <a:xfrm>
                <a:off x="5596" y="3487"/>
                <a:ext cx="761" cy="785"/>
              </a:xfrm>
              <a:custGeom>
                <a:avLst/>
                <a:gdLst>
                  <a:gd name="T0" fmla="*/ 65 w 66"/>
                  <a:gd name="T1" fmla="*/ 68 h 68"/>
                  <a:gd name="T2" fmla="*/ 65 w 66"/>
                  <a:gd name="T3" fmla="*/ 67 h 68"/>
                  <a:gd name="T4" fmla="*/ 24 w 66"/>
                  <a:gd name="T5" fmla="*/ 62 h 68"/>
                  <a:gd name="T6" fmla="*/ 30 w 66"/>
                  <a:gd name="T7" fmla="*/ 68 h 68"/>
                  <a:gd name="T8" fmla="*/ 37 w 66"/>
                  <a:gd name="T9" fmla="*/ 62 h 68"/>
                  <a:gd name="T10" fmla="*/ 19 w 66"/>
                  <a:gd name="T11" fmla="*/ 55 h 68"/>
                  <a:gd name="T12" fmla="*/ 36 w 66"/>
                  <a:gd name="T13" fmla="*/ 62 h 68"/>
                  <a:gd name="T14" fmla="*/ 31 w 66"/>
                  <a:gd name="T15" fmla="*/ 55 h 68"/>
                  <a:gd name="T16" fmla="*/ 14 w 66"/>
                  <a:gd name="T17" fmla="*/ 48 h 68"/>
                  <a:gd name="T18" fmla="*/ 31 w 66"/>
                  <a:gd name="T19" fmla="*/ 55 h 68"/>
                  <a:gd name="T20" fmla="*/ 20 w 66"/>
                  <a:gd name="T21" fmla="*/ 41 h 68"/>
                  <a:gd name="T22" fmla="*/ 14 w 66"/>
                  <a:gd name="T23" fmla="*/ 48 h 68"/>
                  <a:gd name="T24" fmla="*/ 20 w 66"/>
                  <a:gd name="T25" fmla="*/ 41 h 68"/>
                  <a:gd name="T26" fmla="*/ 6 w 66"/>
                  <a:gd name="T27" fmla="*/ 34 h 68"/>
                  <a:gd name="T28" fmla="*/ 20 w 66"/>
                  <a:gd name="T29" fmla="*/ 41 h 68"/>
                  <a:gd name="T30" fmla="*/ 12 w 66"/>
                  <a:gd name="T31" fmla="*/ 27 h 68"/>
                  <a:gd name="T32" fmla="*/ 6 w 66"/>
                  <a:gd name="T33" fmla="*/ 34 h 68"/>
                  <a:gd name="T34" fmla="*/ 12 w 66"/>
                  <a:gd name="T35" fmla="*/ 27 h 68"/>
                  <a:gd name="T36" fmla="*/ 1 w 66"/>
                  <a:gd name="T37" fmla="*/ 20 h 68"/>
                  <a:gd name="T38" fmla="*/ 11 w 66"/>
                  <a:gd name="T39" fmla="*/ 27 h 68"/>
                  <a:gd name="T40" fmla="*/ 6 w 66"/>
                  <a:gd name="T41" fmla="*/ 13 h 68"/>
                  <a:gd name="T42" fmla="*/ 1 w 66"/>
                  <a:gd name="T43" fmla="*/ 18 h 68"/>
                  <a:gd name="T44" fmla="*/ 8 w 66"/>
                  <a:gd name="T45" fmla="*/ 20 h 68"/>
                  <a:gd name="T46" fmla="*/ 5 w 66"/>
                  <a:gd name="T47" fmla="*/ 6 h 68"/>
                  <a:gd name="T48" fmla="*/ 1 w 66"/>
                  <a:gd name="T49" fmla="*/ 13 h 68"/>
                  <a:gd name="T50" fmla="*/ 5 w 66"/>
                  <a:gd name="T51" fmla="*/ 7 h 68"/>
                  <a:gd name="T52" fmla="*/ 27 w 66"/>
                  <a:gd name="T53" fmla="*/ 6 h 68"/>
                  <a:gd name="T54" fmla="*/ 24 w 66"/>
                  <a:gd name="T55" fmla="*/ 7 h 68"/>
                  <a:gd name="T56" fmla="*/ 5 w 66"/>
                  <a:gd name="T57" fmla="*/ 2 h 68"/>
                  <a:gd name="T58" fmla="*/ 0 w 66"/>
                  <a:gd name="T59" fmla="*/ 6 h 68"/>
                  <a:gd name="T60" fmla="*/ 5 w 66"/>
                  <a:gd name="T61" fmla="*/ 2 h 68"/>
                  <a:gd name="T62" fmla="*/ 24 w 66"/>
                  <a:gd name="T63" fmla="*/ 0 h 68"/>
                  <a:gd name="T64" fmla="*/ 18 w 66"/>
                  <a:gd name="T65" fmla="*/ 5 h 68"/>
                  <a:gd name="T66" fmla="*/ 19 w 66"/>
                  <a:gd name="T67" fmla="*/ 5 h 68"/>
                  <a:gd name="T68" fmla="*/ 28 w 66"/>
                  <a:gd name="T69" fmla="*/ 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6" h="68">
                    <a:moveTo>
                      <a:pt x="65" y="67"/>
                    </a:moveTo>
                    <a:cubicBezTo>
                      <a:pt x="65" y="67"/>
                      <a:pt x="65" y="68"/>
                      <a:pt x="65" y="68"/>
                    </a:cubicBezTo>
                    <a:cubicBezTo>
                      <a:pt x="66" y="68"/>
                      <a:pt x="66" y="68"/>
                      <a:pt x="66" y="68"/>
                    </a:cubicBezTo>
                    <a:cubicBezTo>
                      <a:pt x="65" y="67"/>
                      <a:pt x="65" y="67"/>
                      <a:pt x="65" y="67"/>
                    </a:cubicBezTo>
                    <a:moveTo>
                      <a:pt x="37" y="62"/>
                    </a:moveTo>
                    <a:cubicBezTo>
                      <a:pt x="24" y="62"/>
                      <a:pt x="24" y="62"/>
                      <a:pt x="24" y="62"/>
                    </a:cubicBezTo>
                    <a:cubicBezTo>
                      <a:pt x="26" y="64"/>
                      <a:pt x="28" y="66"/>
                      <a:pt x="29" y="68"/>
                    </a:cubicBezTo>
                    <a:cubicBezTo>
                      <a:pt x="29" y="68"/>
                      <a:pt x="30" y="68"/>
                      <a:pt x="3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39" y="66"/>
                      <a:pt x="38" y="64"/>
                      <a:pt x="37" y="62"/>
                    </a:cubicBezTo>
                    <a:moveTo>
                      <a:pt x="31" y="55"/>
                    </a:moveTo>
                    <a:cubicBezTo>
                      <a:pt x="19" y="55"/>
                      <a:pt x="19" y="55"/>
                      <a:pt x="19" y="55"/>
                    </a:cubicBezTo>
                    <a:cubicBezTo>
                      <a:pt x="20" y="57"/>
                      <a:pt x="22" y="60"/>
                      <a:pt x="24" y="62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35" y="60"/>
                      <a:pt x="34" y="58"/>
                      <a:pt x="32" y="57"/>
                    </a:cubicBezTo>
                    <a:cubicBezTo>
                      <a:pt x="32" y="56"/>
                      <a:pt x="31" y="56"/>
                      <a:pt x="31" y="55"/>
                    </a:cubicBezTo>
                    <a:moveTo>
                      <a:pt x="25" y="48"/>
                    </a:moveTo>
                    <a:cubicBezTo>
                      <a:pt x="14" y="48"/>
                      <a:pt x="14" y="48"/>
                      <a:pt x="14" y="48"/>
                    </a:cubicBezTo>
                    <a:cubicBezTo>
                      <a:pt x="15" y="50"/>
                      <a:pt x="17" y="53"/>
                      <a:pt x="18" y="55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29" y="53"/>
                      <a:pt x="27" y="51"/>
                      <a:pt x="25" y="48"/>
                    </a:cubicBezTo>
                    <a:moveTo>
                      <a:pt x="20" y="41"/>
                    </a:moveTo>
                    <a:cubicBezTo>
                      <a:pt x="10" y="41"/>
                      <a:pt x="10" y="41"/>
                      <a:pt x="10" y="41"/>
                    </a:cubicBezTo>
                    <a:cubicBezTo>
                      <a:pt x="11" y="43"/>
                      <a:pt x="12" y="46"/>
                      <a:pt x="14" y="48"/>
                    </a:cubicBezTo>
                    <a:cubicBezTo>
                      <a:pt x="25" y="48"/>
                      <a:pt x="25" y="48"/>
                      <a:pt x="25" y="48"/>
                    </a:cubicBezTo>
                    <a:cubicBezTo>
                      <a:pt x="23" y="46"/>
                      <a:pt x="22" y="43"/>
                      <a:pt x="20" y="41"/>
                    </a:cubicBezTo>
                    <a:moveTo>
                      <a:pt x="16" y="34"/>
                    </a:moveTo>
                    <a:cubicBezTo>
                      <a:pt x="6" y="34"/>
                      <a:pt x="6" y="34"/>
                      <a:pt x="6" y="34"/>
                    </a:cubicBezTo>
                    <a:cubicBezTo>
                      <a:pt x="7" y="36"/>
                      <a:pt x="8" y="39"/>
                      <a:pt x="10" y="41"/>
                    </a:cubicBezTo>
                    <a:cubicBezTo>
                      <a:pt x="20" y="41"/>
                      <a:pt x="20" y="41"/>
                      <a:pt x="20" y="41"/>
                    </a:cubicBezTo>
                    <a:cubicBezTo>
                      <a:pt x="18" y="39"/>
                      <a:pt x="17" y="36"/>
                      <a:pt x="16" y="34"/>
                    </a:cubicBezTo>
                    <a:moveTo>
                      <a:pt x="12" y="27"/>
                    </a:moveTo>
                    <a:cubicBezTo>
                      <a:pt x="3" y="27"/>
                      <a:pt x="3" y="27"/>
                      <a:pt x="3" y="27"/>
                    </a:cubicBezTo>
                    <a:cubicBezTo>
                      <a:pt x="4" y="29"/>
                      <a:pt x="5" y="32"/>
                      <a:pt x="6" y="34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14" y="32"/>
                      <a:pt x="13" y="29"/>
                      <a:pt x="12" y="27"/>
                    </a:cubicBezTo>
                    <a:moveTo>
                      <a:pt x="8" y="20"/>
                    </a:moveTo>
                    <a:cubicBezTo>
                      <a:pt x="1" y="20"/>
                      <a:pt x="1" y="20"/>
                      <a:pt x="1" y="20"/>
                    </a:cubicBezTo>
                    <a:cubicBezTo>
                      <a:pt x="2" y="22"/>
                      <a:pt x="2" y="25"/>
                      <a:pt x="3" y="27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10" y="25"/>
                      <a:pt x="9" y="22"/>
                      <a:pt x="8" y="20"/>
                    </a:cubicBezTo>
                    <a:moveTo>
                      <a:pt x="6" y="13"/>
                    </a:moveTo>
                    <a:cubicBezTo>
                      <a:pt x="1" y="13"/>
                      <a:pt x="1" y="13"/>
                      <a:pt x="1" y="13"/>
                    </a:cubicBezTo>
                    <a:cubicBezTo>
                      <a:pt x="1" y="15"/>
                      <a:pt x="1" y="16"/>
                      <a:pt x="1" y="18"/>
                    </a:cubicBezTo>
                    <a:cubicBezTo>
                      <a:pt x="1" y="19"/>
                      <a:pt x="1" y="19"/>
                      <a:pt x="1" y="20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7" y="18"/>
                      <a:pt x="6" y="16"/>
                      <a:pt x="6" y="13"/>
                    </a:cubicBezTo>
                    <a:moveTo>
                      <a:pt x="5" y="6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1" y="8"/>
                      <a:pt x="1" y="10"/>
                      <a:pt x="1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5" y="11"/>
                      <a:pt x="5" y="9"/>
                      <a:pt x="5" y="7"/>
                    </a:cubicBezTo>
                    <a:cubicBezTo>
                      <a:pt x="5" y="7"/>
                      <a:pt x="5" y="7"/>
                      <a:pt x="5" y="6"/>
                    </a:cubicBezTo>
                    <a:moveTo>
                      <a:pt x="27" y="6"/>
                    </a:moveTo>
                    <a:cubicBezTo>
                      <a:pt x="21" y="6"/>
                      <a:pt x="21" y="6"/>
                      <a:pt x="21" y="6"/>
                    </a:cubicBezTo>
                    <a:cubicBezTo>
                      <a:pt x="22" y="7"/>
                      <a:pt x="23" y="7"/>
                      <a:pt x="24" y="7"/>
                    </a:cubicBezTo>
                    <a:cubicBezTo>
                      <a:pt x="25" y="7"/>
                      <a:pt x="26" y="7"/>
                      <a:pt x="27" y="6"/>
                    </a:cubicBezTo>
                    <a:moveTo>
                      <a:pt x="5" y="2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6"/>
                      <a:pt x="0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3"/>
                      <a:pt x="5" y="2"/>
                    </a:cubicBezTo>
                    <a:moveTo>
                      <a:pt x="33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5"/>
                      <a:pt x="19" y="5"/>
                      <a:pt x="19" y="5"/>
                    </a:cubicBezTo>
                    <a:cubicBezTo>
                      <a:pt x="19" y="6"/>
                      <a:pt x="20" y="6"/>
                      <a:pt x="20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30" y="5"/>
                      <a:pt x="33" y="3"/>
                      <a:pt x="33" y="0"/>
                    </a:cubicBezTo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5" name="Freeform 178"/>
              <p:cNvSpPr>
                <a:spLocks/>
              </p:cNvSpPr>
              <p:nvPr/>
            </p:nvSpPr>
            <p:spPr bwMode="auto">
              <a:xfrm>
                <a:off x="5873" y="3476"/>
                <a:ext cx="104" cy="11"/>
              </a:xfrm>
              <a:custGeom>
                <a:avLst/>
                <a:gdLst>
                  <a:gd name="T0" fmla="*/ 9 w 9"/>
                  <a:gd name="T1" fmla="*/ 0 h 1"/>
                  <a:gd name="T2" fmla="*/ 0 w 9"/>
                  <a:gd name="T3" fmla="*/ 0 h 1"/>
                  <a:gd name="T4" fmla="*/ 0 w 9"/>
                  <a:gd name="T5" fmla="*/ 1 h 1"/>
                  <a:gd name="T6" fmla="*/ 9 w 9"/>
                  <a:gd name="T7" fmla="*/ 1 h 1"/>
                  <a:gd name="T8" fmla="*/ 9 w 9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">
                    <a:moveTo>
                      <a:pt x="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9" y="0"/>
                      <a:pt x="9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6" name="Freeform 179"/>
              <p:cNvSpPr>
                <a:spLocks noEditPoints="1"/>
              </p:cNvSpPr>
              <p:nvPr/>
            </p:nvSpPr>
            <p:spPr bwMode="auto">
              <a:xfrm>
                <a:off x="5596" y="3557"/>
                <a:ext cx="323" cy="0"/>
              </a:xfrm>
              <a:custGeom>
                <a:avLst/>
                <a:gdLst>
                  <a:gd name="T0" fmla="*/ 5 w 28"/>
                  <a:gd name="T1" fmla="*/ 0 w 28"/>
                  <a:gd name="T2" fmla="*/ 0 w 28"/>
                  <a:gd name="T3" fmla="*/ 5 w 28"/>
                  <a:gd name="T4" fmla="*/ 5 w 28"/>
                  <a:gd name="T5" fmla="*/ 28 w 28"/>
                  <a:gd name="T6" fmla="*/ 20 w 28"/>
                  <a:gd name="T7" fmla="*/ 21 w 28"/>
                  <a:gd name="T8" fmla="*/ 27 w 28"/>
                  <a:gd name="T9" fmla="*/ 28 w 2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</a:cxnLst>
                <a:rect l="0" t="0" r="r" b="b"/>
                <a:pathLst>
                  <a:path w="28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moveTo>
                      <a:pt x="28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0"/>
                      <a:pt x="28" y="0"/>
                      <a:pt x="28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7" name="Freeform 180"/>
              <p:cNvSpPr>
                <a:spLocks/>
              </p:cNvSpPr>
              <p:nvPr/>
            </p:nvSpPr>
            <p:spPr bwMode="auto">
              <a:xfrm>
                <a:off x="5608" y="3637"/>
                <a:ext cx="57" cy="0"/>
              </a:xfrm>
              <a:custGeom>
                <a:avLst/>
                <a:gdLst>
                  <a:gd name="T0" fmla="*/ 5 w 5"/>
                  <a:gd name="T1" fmla="*/ 0 w 5"/>
                  <a:gd name="T2" fmla="*/ 0 w 5"/>
                  <a:gd name="T3" fmla="*/ 5 w 5"/>
                  <a:gd name="T4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8" name="Freeform 181"/>
              <p:cNvSpPr>
                <a:spLocks/>
              </p:cNvSpPr>
              <p:nvPr/>
            </p:nvSpPr>
            <p:spPr bwMode="auto">
              <a:xfrm>
                <a:off x="5608" y="3718"/>
                <a:ext cx="81" cy="0"/>
              </a:xfrm>
              <a:custGeom>
                <a:avLst/>
                <a:gdLst>
                  <a:gd name="T0" fmla="*/ 7 w 7"/>
                  <a:gd name="T1" fmla="*/ 0 w 7"/>
                  <a:gd name="T2" fmla="*/ 0 w 7"/>
                  <a:gd name="T3" fmla="*/ 7 w 7"/>
                  <a:gd name="T4" fmla="*/ 7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09" name="Freeform 182"/>
              <p:cNvSpPr>
                <a:spLocks/>
              </p:cNvSpPr>
              <p:nvPr/>
            </p:nvSpPr>
            <p:spPr bwMode="auto">
              <a:xfrm>
                <a:off x="5631" y="3799"/>
                <a:ext cx="104" cy="0"/>
              </a:xfrm>
              <a:custGeom>
                <a:avLst/>
                <a:gdLst>
                  <a:gd name="T0" fmla="*/ 8 w 9"/>
                  <a:gd name="T1" fmla="*/ 0 w 9"/>
                  <a:gd name="T2" fmla="*/ 0 w 9"/>
                  <a:gd name="T3" fmla="*/ 9 w 9"/>
                  <a:gd name="T4" fmla="*/ 8 w 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9">
                    <a:moveTo>
                      <a:pt x="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8" y="0"/>
                      <a:pt x="8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0" name="Freeform 183"/>
              <p:cNvSpPr>
                <a:spLocks/>
              </p:cNvSpPr>
              <p:nvPr/>
            </p:nvSpPr>
            <p:spPr bwMode="auto">
              <a:xfrm>
                <a:off x="5665" y="3879"/>
                <a:ext cx="116" cy="0"/>
              </a:xfrm>
              <a:custGeom>
                <a:avLst/>
                <a:gdLst>
                  <a:gd name="T0" fmla="*/ 9 w 10"/>
                  <a:gd name="T1" fmla="*/ 0 w 10"/>
                  <a:gd name="T2" fmla="*/ 0 w 10"/>
                  <a:gd name="T3" fmla="*/ 10 w 10"/>
                  <a:gd name="T4" fmla="*/ 9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0">
                    <a:moveTo>
                      <a:pt x="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9" y="0"/>
                      <a:pt x="9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1" name="Freeform 184"/>
              <p:cNvSpPr>
                <a:spLocks/>
              </p:cNvSpPr>
              <p:nvPr/>
            </p:nvSpPr>
            <p:spPr bwMode="auto">
              <a:xfrm>
                <a:off x="5712" y="3960"/>
                <a:ext cx="115" cy="0"/>
              </a:xfrm>
              <a:custGeom>
                <a:avLst/>
                <a:gdLst>
                  <a:gd name="T0" fmla="*/ 10 w 10"/>
                  <a:gd name="T1" fmla="*/ 0 w 10"/>
                  <a:gd name="T2" fmla="*/ 0 w 10"/>
                  <a:gd name="T3" fmla="*/ 10 w 10"/>
                  <a:gd name="T4" fmla="*/ 1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0">
                    <a:moveTo>
                      <a:pt x="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2" name="Freeform 185"/>
              <p:cNvSpPr>
                <a:spLocks/>
              </p:cNvSpPr>
              <p:nvPr/>
            </p:nvSpPr>
            <p:spPr bwMode="auto">
              <a:xfrm>
                <a:off x="5758" y="4041"/>
                <a:ext cx="127" cy="0"/>
              </a:xfrm>
              <a:custGeom>
                <a:avLst/>
                <a:gdLst>
                  <a:gd name="T0" fmla="*/ 11 w 11"/>
                  <a:gd name="T1" fmla="*/ 0 w 11"/>
                  <a:gd name="T2" fmla="*/ 0 w 11"/>
                  <a:gd name="T3" fmla="*/ 11 w 11"/>
                  <a:gd name="T4" fmla="*/ 11 w 1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1">
                    <a:moveTo>
                      <a:pt x="1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3" name="Freeform 186"/>
              <p:cNvSpPr>
                <a:spLocks/>
              </p:cNvSpPr>
              <p:nvPr/>
            </p:nvSpPr>
            <p:spPr bwMode="auto">
              <a:xfrm>
                <a:off x="5804" y="4122"/>
                <a:ext cx="150" cy="0"/>
              </a:xfrm>
              <a:custGeom>
                <a:avLst/>
                <a:gdLst>
                  <a:gd name="T0" fmla="*/ 13 w 13"/>
                  <a:gd name="T1" fmla="*/ 0 w 13"/>
                  <a:gd name="T2" fmla="*/ 1 w 13"/>
                  <a:gd name="T3" fmla="*/ 13 w 13"/>
                  <a:gd name="T4" fmla="*/ 13 w 1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3">
                    <a:moveTo>
                      <a:pt x="1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4" name="Freeform 187"/>
              <p:cNvSpPr>
                <a:spLocks/>
              </p:cNvSpPr>
              <p:nvPr/>
            </p:nvSpPr>
            <p:spPr bwMode="auto">
              <a:xfrm>
                <a:off x="5873" y="4202"/>
                <a:ext cx="150" cy="0"/>
              </a:xfrm>
              <a:custGeom>
                <a:avLst/>
                <a:gdLst>
                  <a:gd name="T0" fmla="*/ 12 w 13"/>
                  <a:gd name="T1" fmla="*/ 0 w 13"/>
                  <a:gd name="T2" fmla="*/ 0 w 13"/>
                  <a:gd name="T3" fmla="*/ 13 w 13"/>
                  <a:gd name="T4" fmla="*/ 12 w 1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3">
                    <a:moveTo>
                      <a:pt x="1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5" name="Freeform 188"/>
              <p:cNvSpPr>
                <a:spLocks noEditPoints="1"/>
              </p:cNvSpPr>
              <p:nvPr/>
            </p:nvSpPr>
            <p:spPr bwMode="auto">
              <a:xfrm>
                <a:off x="5931" y="4283"/>
                <a:ext cx="461" cy="69"/>
              </a:xfrm>
              <a:custGeom>
                <a:avLst/>
                <a:gdLst>
                  <a:gd name="T0" fmla="*/ 11 w 40"/>
                  <a:gd name="T1" fmla="*/ 0 h 6"/>
                  <a:gd name="T2" fmla="*/ 1 w 40"/>
                  <a:gd name="T3" fmla="*/ 0 h 6"/>
                  <a:gd name="T4" fmla="*/ 4 w 40"/>
                  <a:gd name="T5" fmla="*/ 4 h 6"/>
                  <a:gd name="T6" fmla="*/ 0 w 40"/>
                  <a:gd name="T7" fmla="*/ 6 h 6"/>
                  <a:gd name="T8" fmla="*/ 13 w 40"/>
                  <a:gd name="T9" fmla="*/ 6 h 6"/>
                  <a:gd name="T10" fmla="*/ 11 w 40"/>
                  <a:gd name="T11" fmla="*/ 0 h 6"/>
                  <a:gd name="T12" fmla="*/ 37 w 40"/>
                  <a:gd name="T13" fmla="*/ 0 h 6"/>
                  <a:gd name="T14" fmla="*/ 36 w 40"/>
                  <a:gd name="T15" fmla="*/ 0 h 6"/>
                  <a:gd name="T16" fmla="*/ 37 w 40"/>
                  <a:gd name="T17" fmla="*/ 2 h 6"/>
                  <a:gd name="T18" fmla="*/ 20 w 40"/>
                  <a:gd name="T19" fmla="*/ 6 h 6"/>
                  <a:gd name="T20" fmla="*/ 36 w 40"/>
                  <a:gd name="T21" fmla="*/ 6 h 6"/>
                  <a:gd name="T22" fmla="*/ 40 w 40"/>
                  <a:gd name="T23" fmla="*/ 5 h 6"/>
                  <a:gd name="T24" fmla="*/ 37 w 40"/>
                  <a:gd name="T2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6">
                    <a:moveTo>
                      <a:pt x="1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1"/>
                      <a:pt x="3" y="3"/>
                      <a:pt x="4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5"/>
                      <a:pt x="12" y="2"/>
                      <a:pt x="11" y="0"/>
                    </a:cubicBezTo>
                    <a:moveTo>
                      <a:pt x="37" y="0"/>
                    </a:moveTo>
                    <a:cubicBezTo>
                      <a:pt x="36" y="0"/>
                      <a:pt x="36" y="0"/>
                      <a:pt x="36" y="0"/>
                    </a:cubicBezTo>
                    <a:cubicBezTo>
                      <a:pt x="37" y="1"/>
                      <a:pt x="37" y="2"/>
                      <a:pt x="37" y="2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37" y="0"/>
                      <a:pt x="37" y="0"/>
                      <a:pt x="37" y="0"/>
                    </a:cubicBezTo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6" name="Freeform 189"/>
              <p:cNvSpPr>
                <a:spLocks noEditPoints="1"/>
              </p:cNvSpPr>
              <p:nvPr/>
            </p:nvSpPr>
            <p:spPr bwMode="auto">
              <a:xfrm>
                <a:off x="5861" y="4364"/>
                <a:ext cx="473" cy="646"/>
              </a:xfrm>
              <a:custGeom>
                <a:avLst/>
                <a:gdLst>
                  <a:gd name="T0" fmla="*/ 14 w 41"/>
                  <a:gd name="T1" fmla="*/ 34 h 56"/>
                  <a:gd name="T2" fmla="*/ 5 w 41"/>
                  <a:gd name="T3" fmla="*/ 34 h 56"/>
                  <a:gd name="T4" fmla="*/ 5 w 41"/>
                  <a:gd name="T5" fmla="*/ 34 h 56"/>
                  <a:gd name="T6" fmla="*/ 10 w 41"/>
                  <a:gd name="T7" fmla="*/ 56 h 56"/>
                  <a:gd name="T8" fmla="*/ 12 w 41"/>
                  <a:gd name="T9" fmla="*/ 48 h 56"/>
                  <a:gd name="T10" fmla="*/ 14 w 41"/>
                  <a:gd name="T11" fmla="*/ 38 h 56"/>
                  <a:gd name="T12" fmla="*/ 15 w 41"/>
                  <a:gd name="T13" fmla="*/ 38 h 56"/>
                  <a:gd name="T14" fmla="*/ 14 w 41"/>
                  <a:gd name="T15" fmla="*/ 34 h 56"/>
                  <a:gd name="T16" fmla="*/ 13 w 41"/>
                  <a:gd name="T17" fmla="*/ 27 h 56"/>
                  <a:gd name="T18" fmla="*/ 0 w 41"/>
                  <a:gd name="T19" fmla="*/ 27 h 56"/>
                  <a:gd name="T20" fmla="*/ 0 w 41"/>
                  <a:gd name="T21" fmla="*/ 32 h 56"/>
                  <a:gd name="T22" fmla="*/ 4 w 41"/>
                  <a:gd name="T23" fmla="*/ 34 h 56"/>
                  <a:gd name="T24" fmla="*/ 14 w 41"/>
                  <a:gd name="T25" fmla="*/ 34 h 56"/>
                  <a:gd name="T26" fmla="*/ 13 w 41"/>
                  <a:gd name="T27" fmla="*/ 27 h 56"/>
                  <a:gd name="T28" fmla="*/ 11 w 41"/>
                  <a:gd name="T29" fmla="*/ 20 h 56"/>
                  <a:gd name="T30" fmla="*/ 0 w 41"/>
                  <a:gd name="T31" fmla="*/ 20 h 56"/>
                  <a:gd name="T32" fmla="*/ 0 w 41"/>
                  <a:gd name="T33" fmla="*/ 27 h 56"/>
                  <a:gd name="T34" fmla="*/ 13 w 41"/>
                  <a:gd name="T35" fmla="*/ 27 h 56"/>
                  <a:gd name="T36" fmla="*/ 11 w 41"/>
                  <a:gd name="T37" fmla="*/ 20 h 56"/>
                  <a:gd name="T38" fmla="*/ 10 w 41"/>
                  <a:gd name="T39" fmla="*/ 14 h 56"/>
                  <a:gd name="T40" fmla="*/ 0 w 41"/>
                  <a:gd name="T41" fmla="*/ 14 h 56"/>
                  <a:gd name="T42" fmla="*/ 0 w 41"/>
                  <a:gd name="T43" fmla="*/ 20 h 56"/>
                  <a:gd name="T44" fmla="*/ 11 w 41"/>
                  <a:gd name="T45" fmla="*/ 20 h 56"/>
                  <a:gd name="T46" fmla="*/ 10 w 41"/>
                  <a:gd name="T47" fmla="*/ 14 h 56"/>
                  <a:gd name="T48" fmla="*/ 24 w 41"/>
                  <a:gd name="T49" fmla="*/ 7 h 56"/>
                  <a:gd name="T50" fmla="*/ 0 w 41"/>
                  <a:gd name="T51" fmla="*/ 7 h 56"/>
                  <a:gd name="T52" fmla="*/ 0 w 41"/>
                  <a:gd name="T53" fmla="*/ 13 h 56"/>
                  <a:gd name="T54" fmla="*/ 10 w 41"/>
                  <a:gd name="T55" fmla="*/ 13 h 56"/>
                  <a:gd name="T56" fmla="*/ 9 w 41"/>
                  <a:gd name="T57" fmla="*/ 12 h 56"/>
                  <a:gd name="T58" fmla="*/ 24 w 41"/>
                  <a:gd name="T59" fmla="*/ 7 h 56"/>
                  <a:gd name="T60" fmla="*/ 41 w 41"/>
                  <a:gd name="T61" fmla="*/ 0 h 56"/>
                  <a:gd name="T62" fmla="*/ 24 w 41"/>
                  <a:gd name="T63" fmla="*/ 0 h 56"/>
                  <a:gd name="T64" fmla="*/ 19 w 41"/>
                  <a:gd name="T65" fmla="*/ 1 h 56"/>
                  <a:gd name="T66" fmla="*/ 19 w 41"/>
                  <a:gd name="T67" fmla="*/ 0 h 56"/>
                  <a:gd name="T68" fmla="*/ 5 w 41"/>
                  <a:gd name="T69" fmla="*/ 0 h 56"/>
                  <a:gd name="T70" fmla="*/ 5 w 41"/>
                  <a:gd name="T71" fmla="*/ 0 h 56"/>
                  <a:gd name="T72" fmla="*/ 5 w 41"/>
                  <a:gd name="T73" fmla="*/ 2 h 56"/>
                  <a:gd name="T74" fmla="*/ 0 w 41"/>
                  <a:gd name="T75" fmla="*/ 5 h 56"/>
                  <a:gd name="T76" fmla="*/ 0 w 41"/>
                  <a:gd name="T77" fmla="*/ 6 h 56"/>
                  <a:gd name="T78" fmla="*/ 25 w 41"/>
                  <a:gd name="T79" fmla="*/ 6 h 56"/>
                  <a:gd name="T80" fmla="*/ 41 w 41"/>
                  <a:gd name="T8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1" h="56">
                    <a:moveTo>
                      <a:pt x="14" y="34"/>
                    </a:moveTo>
                    <a:cubicBezTo>
                      <a:pt x="5" y="34"/>
                      <a:pt x="5" y="34"/>
                      <a:pt x="5" y="34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5" y="34"/>
                      <a:pt x="7" y="43"/>
                      <a:pt x="10" y="56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12" y="48"/>
                      <a:pt x="12" y="38"/>
                      <a:pt x="14" y="38"/>
                    </a:cubicBezTo>
                    <a:cubicBezTo>
                      <a:pt x="14" y="38"/>
                      <a:pt x="15" y="38"/>
                      <a:pt x="15" y="38"/>
                    </a:cubicBezTo>
                    <a:cubicBezTo>
                      <a:pt x="15" y="37"/>
                      <a:pt x="15" y="36"/>
                      <a:pt x="14" y="34"/>
                    </a:cubicBezTo>
                    <a:moveTo>
                      <a:pt x="13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14" y="32"/>
                      <a:pt x="13" y="29"/>
                      <a:pt x="13" y="27"/>
                    </a:cubicBezTo>
                    <a:moveTo>
                      <a:pt x="11" y="2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5"/>
                      <a:pt x="12" y="22"/>
                      <a:pt x="11" y="20"/>
                    </a:cubicBezTo>
                    <a:moveTo>
                      <a:pt x="10" y="14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11" y="20"/>
                      <a:pt x="11" y="20"/>
                      <a:pt x="11" y="20"/>
                    </a:cubicBezTo>
                    <a:cubicBezTo>
                      <a:pt x="11" y="17"/>
                      <a:pt x="10" y="15"/>
                      <a:pt x="10" y="14"/>
                    </a:cubicBezTo>
                    <a:moveTo>
                      <a:pt x="24" y="7"/>
                    </a:moveTo>
                    <a:cubicBezTo>
                      <a:pt x="0" y="7"/>
                      <a:pt x="0" y="7"/>
                      <a:pt x="0" y="7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9" y="12"/>
                      <a:pt x="9" y="12"/>
                    </a:cubicBezTo>
                    <a:cubicBezTo>
                      <a:pt x="24" y="7"/>
                      <a:pt x="24" y="7"/>
                      <a:pt x="24" y="7"/>
                    </a:cubicBezTo>
                    <a:moveTo>
                      <a:pt x="41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19" y="1"/>
                      <a:pt x="19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41" y="0"/>
                      <a:pt x="41" y="0"/>
                      <a:pt x="41" y="0"/>
                    </a:cubicBezTo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7" name="Freeform 190"/>
              <p:cNvSpPr>
                <a:spLocks noEditPoints="1"/>
              </p:cNvSpPr>
              <p:nvPr/>
            </p:nvSpPr>
            <p:spPr bwMode="auto">
              <a:xfrm>
                <a:off x="5942" y="4272"/>
                <a:ext cx="415" cy="11"/>
              </a:xfrm>
              <a:custGeom>
                <a:avLst/>
                <a:gdLst>
                  <a:gd name="T0" fmla="*/ 10 w 36"/>
                  <a:gd name="T1" fmla="*/ 0 h 1"/>
                  <a:gd name="T2" fmla="*/ 0 w 36"/>
                  <a:gd name="T3" fmla="*/ 0 h 1"/>
                  <a:gd name="T4" fmla="*/ 0 w 36"/>
                  <a:gd name="T5" fmla="*/ 1 h 1"/>
                  <a:gd name="T6" fmla="*/ 10 w 36"/>
                  <a:gd name="T7" fmla="*/ 1 h 1"/>
                  <a:gd name="T8" fmla="*/ 10 w 36"/>
                  <a:gd name="T9" fmla="*/ 0 h 1"/>
                  <a:gd name="T10" fmla="*/ 36 w 36"/>
                  <a:gd name="T11" fmla="*/ 0 h 1"/>
                  <a:gd name="T12" fmla="*/ 35 w 36"/>
                  <a:gd name="T13" fmla="*/ 0 h 1"/>
                  <a:gd name="T14" fmla="*/ 35 w 36"/>
                  <a:gd name="T15" fmla="*/ 1 h 1"/>
                  <a:gd name="T16" fmla="*/ 36 w 36"/>
                  <a:gd name="T17" fmla="*/ 1 h 1"/>
                  <a:gd name="T18" fmla="*/ 36 w 36"/>
                  <a:gd name="T1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">
                    <a:moveTo>
                      <a:pt x="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0" y="1"/>
                      <a:pt x="10" y="0"/>
                    </a:cubicBezTo>
                    <a:moveTo>
                      <a:pt x="36" y="0"/>
                    </a:moveTo>
                    <a:cubicBezTo>
                      <a:pt x="35" y="0"/>
                      <a:pt x="35" y="0"/>
                      <a:pt x="35" y="0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6" y="0"/>
                      <a:pt x="36" y="0"/>
                      <a:pt x="36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8" name="Freeform 191"/>
              <p:cNvSpPr>
                <a:spLocks noEditPoints="1"/>
              </p:cNvSpPr>
              <p:nvPr/>
            </p:nvSpPr>
            <p:spPr bwMode="auto">
              <a:xfrm>
                <a:off x="5919" y="4352"/>
                <a:ext cx="427" cy="12"/>
              </a:xfrm>
              <a:custGeom>
                <a:avLst/>
                <a:gdLst>
                  <a:gd name="T0" fmla="*/ 14 w 37"/>
                  <a:gd name="T1" fmla="*/ 0 h 1"/>
                  <a:gd name="T2" fmla="*/ 1 w 37"/>
                  <a:gd name="T3" fmla="*/ 0 h 1"/>
                  <a:gd name="T4" fmla="*/ 0 w 37"/>
                  <a:gd name="T5" fmla="*/ 1 h 1"/>
                  <a:gd name="T6" fmla="*/ 14 w 37"/>
                  <a:gd name="T7" fmla="*/ 1 h 1"/>
                  <a:gd name="T8" fmla="*/ 14 w 37"/>
                  <a:gd name="T9" fmla="*/ 0 h 1"/>
                  <a:gd name="T10" fmla="*/ 37 w 37"/>
                  <a:gd name="T11" fmla="*/ 0 h 1"/>
                  <a:gd name="T12" fmla="*/ 21 w 37"/>
                  <a:gd name="T13" fmla="*/ 0 h 1"/>
                  <a:gd name="T14" fmla="*/ 19 w 37"/>
                  <a:gd name="T15" fmla="*/ 1 h 1"/>
                  <a:gd name="T16" fmla="*/ 36 w 37"/>
                  <a:gd name="T17" fmla="*/ 1 h 1"/>
                  <a:gd name="T18" fmla="*/ 37 w 37"/>
                  <a:gd name="T1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1">
                    <a:moveTo>
                      <a:pt x="14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0"/>
                      <a:pt x="14" y="0"/>
                    </a:cubicBezTo>
                    <a:moveTo>
                      <a:pt x="37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7" y="0"/>
                      <a:pt x="37" y="0"/>
                      <a:pt x="37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19" name="Freeform 192"/>
              <p:cNvSpPr>
                <a:spLocks/>
              </p:cNvSpPr>
              <p:nvPr/>
            </p:nvSpPr>
            <p:spPr bwMode="auto">
              <a:xfrm>
                <a:off x="5861" y="4433"/>
                <a:ext cx="289" cy="12"/>
              </a:xfrm>
              <a:custGeom>
                <a:avLst/>
                <a:gdLst>
                  <a:gd name="T0" fmla="*/ 289 w 289"/>
                  <a:gd name="T1" fmla="*/ 0 h 12"/>
                  <a:gd name="T2" fmla="*/ 0 w 289"/>
                  <a:gd name="T3" fmla="*/ 0 h 12"/>
                  <a:gd name="T4" fmla="*/ 0 w 289"/>
                  <a:gd name="T5" fmla="*/ 12 h 12"/>
                  <a:gd name="T6" fmla="*/ 277 w 289"/>
                  <a:gd name="T7" fmla="*/ 12 h 12"/>
                  <a:gd name="T8" fmla="*/ 289 w 289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9" h="12">
                    <a:moveTo>
                      <a:pt x="289" y="0"/>
                    </a:moveTo>
                    <a:lnTo>
                      <a:pt x="0" y="0"/>
                    </a:lnTo>
                    <a:lnTo>
                      <a:pt x="0" y="12"/>
                    </a:lnTo>
                    <a:lnTo>
                      <a:pt x="277" y="12"/>
                    </a:lnTo>
                    <a:lnTo>
                      <a:pt x="289" y="0"/>
                    </a:lnTo>
                    <a:close/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0" name="Freeform 193"/>
              <p:cNvSpPr>
                <a:spLocks/>
              </p:cNvSpPr>
              <p:nvPr/>
            </p:nvSpPr>
            <p:spPr bwMode="auto">
              <a:xfrm>
                <a:off x="5861" y="4433"/>
                <a:ext cx="289" cy="12"/>
              </a:xfrm>
              <a:custGeom>
                <a:avLst/>
                <a:gdLst>
                  <a:gd name="T0" fmla="*/ 289 w 289"/>
                  <a:gd name="T1" fmla="*/ 0 h 12"/>
                  <a:gd name="T2" fmla="*/ 0 w 289"/>
                  <a:gd name="T3" fmla="*/ 0 h 12"/>
                  <a:gd name="T4" fmla="*/ 0 w 289"/>
                  <a:gd name="T5" fmla="*/ 12 h 12"/>
                  <a:gd name="T6" fmla="*/ 277 w 289"/>
                  <a:gd name="T7" fmla="*/ 12 h 12"/>
                  <a:gd name="T8" fmla="*/ 289 w 289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9" h="12">
                    <a:moveTo>
                      <a:pt x="289" y="0"/>
                    </a:moveTo>
                    <a:lnTo>
                      <a:pt x="0" y="0"/>
                    </a:lnTo>
                    <a:lnTo>
                      <a:pt x="0" y="12"/>
                    </a:lnTo>
                    <a:lnTo>
                      <a:pt x="277" y="12"/>
                    </a:lnTo>
                    <a:lnTo>
                      <a:pt x="28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1" name="Freeform 194"/>
              <p:cNvSpPr>
                <a:spLocks/>
              </p:cNvSpPr>
              <p:nvPr/>
            </p:nvSpPr>
            <p:spPr bwMode="auto">
              <a:xfrm>
                <a:off x="5861" y="4514"/>
                <a:ext cx="116" cy="11"/>
              </a:xfrm>
              <a:custGeom>
                <a:avLst/>
                <a:gdLst>
                  <a:gd name="T0" fmla="*/ 10 w 10"/>
                  <a:gd name="T1" fmla="*/ 0 h 1"/>
                  <a:gd name="T2" fmla="*/ 0 w 10"/>
                  <a:gd name="T3" fmla="*/ 0 h 1"/>
                  <a:gd name="T4" fmla="*/ 0 w 10"/>
                  <a:gd name="T5" fmla="*/ 1 h 1"/>
                  <a:gd name="T6" fmla="*/ 10 w 10"/>
                  <a:gd name="T7" fmla="*/ 1 h 1"/>
                  <a:gd name="T8" fmla="*/ 10 w 10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">
                    <a:moveTo>
                      <a:pt x="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2" name="Freeform 195"/>
              <p:cNvSpPr>
                <a:spLocks/>
              </p:cNvSpPr>
              <p:nvPr/>
            </p:nvSpPr>
            <p:spPr bwMode="auto">
              <a:xfrm>
                <a:off x="5861" y="4594"/>
                <a:ext cx="127" cy="0"/>
              </a:xfrm>
              <a:custGeom>
                <a:avLst/>
                <a:gdLst>
                  <a:gd name="T0" fmla="*/ 11 w 11"/>
                  <a:gd name="T1" fmla="*/ 0 w 11"/>
                  <a:gd name="T2" fmla="*/ 0 w 11"/>
                  <a:gd name="T3" fmla="*/ 11 w 11"/>
                  <a:gd name="T4" fmla="*/ 11 w 1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1">
                    <a:moveTo>
                      <a:pt x="1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3" name="Freeform 196"/>
              <p:cNvSpPr>
                <a:spLocks/>
              </p:cNvSpPr>
              <p:nvPr/>
            </p:nvSpPr>
            <p:spPr bwMode="auto">
              <a:xfrm>
                <a:off x="5861" y="4675"/>
                <a:ext cx="150" cy="0"/>
              </a:xfrm>
              <a:custGeom>
                <a:avLst/>
                <a:gdLst>
                  <a:gd name="T0" fmla="*/ 13 w 13"/>
                  <a:gd name="T1" fmla="*/ 0 w 13"/>
                  <a:gd name="T2" fmla="*/ 0 w 13"/>
                  <a:gd name="T3" fmla="*/ 13 w 13"/>
                  <a:gd name="T4" fmla="*/ 13 w 1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3">
                    <a:moveTo>
                      <a:pt x="1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4" name="Freeform 197"/>
              <p:cNvSpPr>
                <a:spLocks/>
              </p:cNvSpPr>
              <p:nvPr/>
            </p:nvSpPr>
            <p:spPr bwMode="auto">
              <a:xfrm>
                <a:off x="5908" y="4756"/>
                <a:ext cx="115" cy="0"/>
              </a:xfrm>
              <a:custGeom>
                <a:avLst/>
                <a:gdLst>
                  <a:gd name="T0" fmla="*/ 10 w 10"/>
                  <a:gd name="T1" fmla="*/ 0 w 10"/>
                  <a:gd name="T2" fmla="*/ 1 w 10"/>
                  <a:gd name="T3" fmla="*/ 10 w 10"/>
                  <a:gd name="T4" fmla="*/ 1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0">
                    <a:moveTo>
                      <a:pt x="1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4F48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5" name="Freeform 198"/>
              <p:cNvSpPr>
                <a:spLocks/>
              </p:cNvSpPr>
              <p:nvPr/>
            </p:nvSpPr>
            <p:spPr bwMode="auto">
              <a:xfrm>
                <a:off x="2287" y="3211"/>
                <a:ext cx="830" cy="2444"/>
              </a:xfrm>
              <a:custGeom>
                <a:avLst/>
                <a:gdLst>
                  <a:gd name="T0" fmla="*/ 72 w 72"/>
                  <a:gd name="T1" fmla="*/ 0 h 212"/>
                  <a:gd name="T2" fmla="*/ 69 w 72"/>
                  <a:gd name="T3" fmla="*/ 1 h 212"/>
                  <a:gd name="T4" fmla="*/ 56 w 72"/>
                  <a:gd name="T5" fmla="*/ 26 h 212"/>
                  <a:gd name="T6" fmla="*/ 48 w 72"/>
                  <a:gd name="T7" fmla="*/ 39 h 212"/>
                  <a:gd name="T8" fmla="*/ 47 w 72"/>
                  <a:gd name="T9" fmla="*/ 70 h 212"/>
                  <a:gd name="T10" fmla="*/ 43 w 72"/>
                  <a:gd name="T11" fmla="*/ 86 h 212"/>
                  <a:gd name="T12" fmla="*/ 38 w 72"/>
                  <a:gd name="T13" fmla="*/ 84 h 212"/>
                  <a:gd name="T14" fmla="*/ 20 w 72"/>
                  <a:gd name="T15" fmla="*/ 114 h 212"/>
                  <a:gd name="T16" fmla="*/ 25 w 72"/>
                  <a:gd name="T17" fmla="*/ 116 h 212"/>
                  <a:gd name="T18" fmla="*/ 16 w 72"/>
                  <a:gd name="T19" fmla="*/ 148 h 212"/>
                  <a:gd name="T20" fmla="*/ 0 w 72"/>
                  <a:gd name="T21" fmla="*/ 212 h 212"/>
                  <a:gd name="T22" fmla="*/ 6 w 72"/>
                  <a:gd name="T23" fmla="*/ 212 h 212"/>
                  <a:gd name="T24" fmla="*/ 23 w 72"/>
                  <a:gd name="T25" fmla="*/ 144 h 212"/>
                  <a:gd name="T26" fmla="*/ 36 w 72"/>
                  <a:gd name="T27" fmla="*/ 95 h 212"/>
                  <a:gd name="T28" fmla="*/ 48 w 72"/>
                  <a:gd name="T29" fmla="*/ 100 h 212"/>
                  <a:gd name="T30" fmla="*/ 47 w 72"/>
                  <a:gd name="T31" fmla="*/ 103 h 212"/>
                  <a:gd name="T32" fmla="*/ 51 w 72"/>
                  <a:gd name="T33" fmla="*/ 106 h 212"/>
                  <a:gd name="T34" fmla="*/ 53 w 72"/>
                  <a:gd name="T35" fmla="*/ 93 h 212"/>
                  <a:gd name="T36" fmla="*/ 47 w 72"/>
                  <a:gd name="T37" fmla="*/ 91 h 212"/>
                  <a:gd name="T38" fmla="*/ 54 w 72"/>
                  <a:gd name="T39" fmla="*/ 66 h 212"/>
                  <a:gd name="T40" fmla="*/ 55 w 72"/>
                  <a:gd name="T41" fmla="*/ 36 h 212"/>
                  <a:gd name="T42" fmla="*/ 63 w 72"/>
                  <a:gd name="T43" fmla="*/ 22 h 212"/>
                  <a:gd name="T44" fmla="*/ 72 w 72"/>
                  <a:gd name="T45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2" h="212">
                    <a:moveTo>
                      <a:pt x="72" y="0"/>
                    </a:moveTo>
                    <a:cubicBezTo>
                      <a:pt x="71" y="0"/>
                      <a:pt x="70" y="1"/>
                      <a:pt x="69" y="1"/>
                    </a:cubicBezTo>
                    <a:cubicBezTo>
                      <a:pt x="61" y="4"/>
                      <a:pt x="60" y="20"/>
                      <a:pt x="56" y="26"/>
                    </a:cubicBezTo>
                    <a:cubicBezTo>
                      <a:pt x="53" y="31"/>
                      <a:pt x="48" y="36"/>
                      <a:pt x="48" y="39"/>
                    </a:cubicBezTo>
                    <a:cubicBezTo>
                      <a:pt x="48" y="47"/>
                      <a:pt x="47" y="61"/>
                      <a:pt x="47" y="70"/>
                    </a:cubicBezTo>
                    <a:cubicBezTo>
                      <a:pt x="47" y="74"/>
                      <a:pt x="45" y="81"/>
                      <a:pt x="43" y="86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2" y="125"/>
                      <a:pt x="19" y="137"/>
                      <a:pt x="16" y="148"/>
                    </a:cubicBezTo>
                    <a:cubicBezTo>
                      <a:pt x="13" y="162"/>
                      <a:pt x="5" y="185"/>
                      <a:pt x="0" y="212"/>
                    </a:cubicBezTo>
                    <a:cubicBezTo>
                      <a:pt x="6" y="212"/>
                      <a:pt x="6" y="212"/>
                      <a:pt x="6" y="212"/>
                    </a:cubicBezTo>
                    <a:cubicBezTo>
                      <a:pt x="11" y="183"/>
                      <a:pt x="19" y="159"/>
                      <a:pt x="23" y="144"/>
                    </a:cubicBezTo>
                    <a:cubicBezTo>
                      <a:pt x="28" y="122"/>
                      <a:pt x="36" y="95"/>
                      <a:pt x="36" y="95"/>
                    </a:cubicBezTo>
                    <a:cubicBezTo>
                      <a:pt x="48" y="100"/>
                      <a:pt x="48" y="100"/>
                      <a:pt x="48" y="100"/>
                    </a:cubicBezTo>
                    <a:cubicBezTo>
                      <a:pt x="47" y="101"/>
                      <a:pt x="47" y="102"/>
                      <a:pt x="47" y="103"/>
                    </a:cubicBezTo>
                    <a:cubicBezTo>
                      <a:pt x="51" y="106"/>
                      <a:pt x="51" y="106"/>
                      <a:pt x="51" y="106"/>
                    </a:cubicBezTo>
                    <a:cubicBezTo>
                      <a:pt x="52" y="101"/>
                      <a:pt x="52" y="97"/>
                      <a:pt x="53" y="93"/>
                    </a:cubicBezTo>
                    <a:cubicBezTo>
                      <a:pt x="47" y="91"/>
                      <a:pt x="47" y="91"/>
                      <a:pt x="47" y="91"/>
                    </a:cubicBezTo>
                    <a:cubicBezTo>
                      <a:pt x="47" y="91"/>
                      <a:pt x="54" y="75"/>
                      <a:pt x="54" y="66"/>
                    </a:cubicBezTo>
                    <a:cubicBezTo>
                      <a:pt x="54" y="57"/>
                      <a:pt x="55" y="43"/>
                      <a:pt x="55" y="36"/>
                    </a:cubicBezTo>
                    <a:cubicBezTo>
                      <a:pt x="55" y="32"/>
                      <a:pt x="60" y="27"/>
                      <a:pt x="63" y="22"/>
                    </a:cubicBezTo>
                    <a:cubicBezTo>
                      <a:pt x="66" y="17"/>
                      <a:pt x="67" y="5"/>
                      <a:pt x="72" y="0"/>
                    </a:cubicBezTo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6" name="Rectangle 199"/>
              <p:cNvSpPr>
                <a:spLocks noChangeArrowheads="1"/>
              </p:cNvSpPr>
              <p:nvPr/>
            </p:nvSpPr>
            <p:spPr bwMode="auto">
              <a:xfrm>
                <a:off x="3313" y="5655"/>
                <a:ext cx="2537" cy="1200"/>
              </a:xfrm>
              <a:prstGeom prst="rect">
                <a:avLst/>
              </a:prstGeom>
              <a:solidFill>
                <a:srgbClr val="EE70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7" name="Rectangle 200"/>
              <p:cNvSpPr>
                <a:spLocks noChangeArrowheads="1"/>
              </p:cNvSpPr>
              <p:nvPr/>
            </p:nvSpPr>
            <p:spPr bwMode="auto">
              <a:xfrm>
                <a:off x="3313" y="5655"/>
                <a:ext cx="2537" cy="1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8" name="Freeform 201"/>
              <p:cNvSpPr>
                <a:spLocks/>
              </p:cNvSpPr>
              <p:nvPr/>
            </p:nvSpPr>
            <p:spPr bwMode="auto">
              <a:xfrm>
                <a:off x="3313" y="5655"/>
                <a:ext cx="346" cy="865"/>
              </a:xfrm>
              <a:custGeom>
                <a:avLst/>
                <a:gdLst>
                  <a:gd name="T0" fmla="*/ 30 w 30"/>
                  <a:gd name="T1" fmla="*/ 0 h 75"/>
                  <a:gd name="T2" fmla="*/ 0 w 30"/>
                  <a:gd name="T3" fmla="*/ 0 h 75"/>
                  <a:gd name="T4" fmla="*/ 0 w 30"/>
                  <a:gd name="T5" fmla="*/ 75 h 75"/>
                  <a:gd name="T6" fmla="*/ 0 w 30"/>
                  <a:gd name="T7" fmla="*/ 75 h 75"/>
                  <a:gd name="T8" fmla="*/ 0 w 30"/>
                  <a:gd name="T9" fmla="*/ 0 h 75"/>
                  <a:gd name="T10" fmla="*/ 30 w 30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75">
                    <a:moveTo>
                      <a:pt x="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29" name="Freeform 202"/>
              <p:cNvSpPr>
                <a:spLocks noEditPoints="1"/>
              </p:cNvSpPr>
              <p:nvPr/>
            </p:nvSpPr>
            <p:spPr bwMode="auto">
              <a:xfrm>
                <a:off x="3313" y="5655"/>
                <a:ext cx="2433" cy="865"/>
              </a:xfrm>
              <a:custGeom>
                <a:avLst/>
                <a:gdLst>
                  <a:gd name="T0" fmla="*/ 30 w 211"/>
                  <a:gd name="T1" fmla="*/ 0 h 75"/>
                  <a:gd name="T2" fmla="*/ 0 w 211"/>
                  <a:gd name="T3" fmla="*/ 0 h 75"/>
                  <a:gd name="T4" fmla="*/ 0 w 211"/>
                  <a:gd name="T5" fmla="*/ 75 h 75"/>
                  <a:gd name="T6" fmla="*/ 17 w 211"/>
                  <a:gd name="T7" fmla="*/ 72 h 75"/>
                  <a:gd name="T8" fmla="*/ 30 w 211"/>
                  <a:gd name="T9" fmla="*/ 0 h 75"/>
                  <a:gd name="T10" fmla="*/ 211 w 211"/>
                  <a:gd name="T11" fmla="*/ 0 h 75"/>
                  <a:gd name="T12" fmla="*/ 190 w 211"/>
                  <a:gd name="T13" fmla="*/ 0 h 75"/>
                  <a:gd name="T14" fmla="*/ 197 w 211"/>
                  <a:gd name="T15" fmla="*/ 38 h 75"/>
                  <a:gd name="T16" fmla="*/ 211 w 211"/>
                  <a:gd name="T1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1" h="75">
                    <a:moveTo>
                      <a:pt x="3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3" y="74"/>
                      <a:pt x="9" y="73"/>
                      <a:pt x="17" y="72"/>
                    </a:cubicBezTo>
                    <a:cubicBezTo>
                      <a:pt x="30" y="0"/>
                      <a:pt x="30" y="0"/>
                      <a:pt x="30" y="0"/>
                    </a:cubicBezTo>
                    <a:moveTo>
                      <a:pt x="211" y="0"/>
                    </a:moveTo>
                    <a:cubicBezTo>
                      <a:pt x="190" y="0"/>
                      <a:pt x="190" y="0"/>
                      <a:pt x="190" y="0"/>
                    </a:cubicBezTo>
                    <a:cubicBezTo>
                      <a:pt x="197" y="38"/>
                      <a:pt x="197" y="38"/>
                      <a:pt x="197" y="38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BF5F4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30" name="Freeform 203"/>
              <p:cNvSpPr>
                <a:spLocks/>
              </p:cNvSpPr>
              <p:nvPr/>
            </p:nvSpPr>
            <p:spPr bwMode="auto">
              <a:xfrm>
                <a:off x="3452" y="5655"/>
                <a:ext cx="2271" cy="1200"/>
              </a:xfrm>
              <a:custGeom>
                <a:avLst/>
                <a:gdLst>
                  <a:gd name="T0" fmla="*/ 2271 w 2271"/>
                  <a:gd name="T1" fmla="*/ 1200 h 1200"/>
                  <a:gd name="T2" fmla="*/ 0 w 2271"/>
                  <a:gd name="T3" fmla="*/ 1200 h 1200"/>
                  <a:gd name="T4" fmla="*/ 207 w 2271"/>
                  <a:gd name="T5" fmla="*/ 0 h 1200"/>
                  <a:gd name="T6" fmla="*/ 2052 w 2271"/>
                  <a:gd name="T7" fmla="*/ 0 h 1200"/>
                  <a:gd name="T8" fmla="*/ 2271 w 2271"/>
                  <a:gd name="T9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1" h="1200">
                    <a:moveTo>
                      <a:pt x="2271" y="1200"/>
                    </a:moveTo>
                    <a:lnTo>
                      <a:pt x="0" y="1200"/>
                    </a:lnTo>
                    <a:lnTo>
                      <a:pt x="207" y="0"/>
                    </a:lnTo>
                    <a:lnTo>
                      <a:pt x="2052" y="0"/>
                    </a:lnTo>
                    <a:lnTo>
                      <a:pt x="2271" y="1200"/>
                    </a:lnTo>
                    <a:close/>
                  </a:path>
                </a:pathLst>
              </a:custGeom>
              <a:solidFill>
                <a:srgbClr val="1617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31" name="Freeform 204"/>
              <p:cNvSpPr>
                <a:spLocks/>
              </p:cNvSpPr>
              <p:nvPr/>
            </p:nvSpPr>
            <p:spPr bwMode="auto">
              <a:xfrm>
                <a:off x="3452" y="5655"/>
                <a:ext cx="2271" cy="1200"/>
              </a:xfrm>
              <a:custGeom>
                <a:avLst/>
                <a:gdLst>
                  <a:gd name="T0" fmla="*/ 2271 w 2271"/>
                  <a:gd name="T1" fmla="*/ 1200 h 1200"/>
                  <a:gd name="T2" fmla="*/ 0 w 2271"/>
                  <a:gd name="T3" fmla="*/ 1200 h 1200"/>
                  <a:gd name="T4" fmla="*/ 207 w 2271"/>
                  <a:gd name="T5" fmla="*/ 0 h 1200"/>
                  <a:gd name="T6" fmla="*/ 2052 w 2271"/>
                  <a:gd name="T7" fmla="*/ 0 h 1200"/>
                  <a:gd name="T8" fmla="*/ 2271 w 2271"/>
                  <a:gd name="T9" fmla="*/ 12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1" h="1200">
                    <a:moveTo>
                      <a:pt x="2271" y="1200"/>
                    </a:moveTo>
                    <a:lnTo>
                      <a:pt x="0" y="1200"/>
                    </a:lnTo>
                    <a:lnTo>
                      <a:pt x="207" y="0"/>
                    </a:lnTo>
                    <a:lnTo>
                      <a:pt x="2052" y="0"/>
                    </a:lnTo>
                    <a:lnTo>
                      <a:pt x="2271" y="120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  <p:sp>
            <p:nvSpPr>
              <p:cNvPr id="532" name="Freeform 205"/>
              <p:cNvSpPr>
                <a:spLocks/>
              </p:cNvSpPr>
              <p:nvPr/>
            </p:nvSpPr>
            <p:spPr bwMode="auto">
              <a:xfrm>
                <a:off x="2921" y="6855"/>
                <a:ext cx="3321" cy="1233"/>
              </a:xfrm>
              <a:custGeom>
                <a:avLst/>
                <a:gdLst>
                  <a:gd name="T0" fmla="*/ 392 w 3321"/>
                  <a:gd name="T1" fmla="*/ 0 h 1233"/>
                  <a:gd name="T2" fmla="*/ 0 w 3321"/>
                  <a:gd name="T3" fmla="*/ 726 h 1233"/>
                  <a:gd name="T4" fmla="*/ 1661 w 3321"/>
                  <a:gd name="T5" fmla="*/ 1233 h 1233"/>
                  <a:gd name="T6" fmla="*/ 3321 w 3321"/>
                  <a:gd name="T7" fmla="*/ 726 h 1233"/>
                  <a:gd name="T8" fmla="*/ 2929 w 3321"/>
                  <a:gd name="T9" fmla="*/ 0 h 1233"/>
                  <a:gd name="T10" fmla="*/ 392 w 3321"/>
                  <a:gd name="T11" fmla="*/ 0 h 1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21" h="1233">
                    <a:moveTo>
                      <a:pt x="392" y="0"/>
                    </a:moveTo>
                    <a:lnTo>
                      <a:pt x="0" y="726"/>
                    </a:lnTo>
                    <a:lnTo>
                      <a:pt x="1661" y="1233"/>
                    </a:lnTo>
                    <a:lnTo>
                      <a:pt x="3321" y="726"/>
                    </a:lnTo>
                    <a:lnTo>
                      <a:pt x="2929" y="0"/>
                    </a:lnTo>
                    <a:lnTo>
                      <a:pt x="392" y="0"/>
                    </a:lnTo>
                    <a:close/>
                  </a:path>
                </a:pathLst>
              </a:custGeom>
              <a:solidFill>
                <a:srgbClr val="EFEE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217320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th-TH" sz="6700">
                  <a:solidFill>
                    <a:prstClr val="black"/>
                  </a:solidFill>
                  <a:latin typeface="Calibri"/>
                  <a:ea typeface="ＭＳ Ｐゴシック" panose="020B0600070205080204" pitchFamily="34" charset="-128"/>
                </a:endParaRPr>
              </a:p>
            </p:txBody>
          </p:sp>
        </p:grpSp>
        <p:sp>
          <p:nvSpPr>
            <p:cNvPr id="293" name="Freeform 207"/>
            <p:cNvSpPr>
              <a:spLocks/>
            </p:cNvSpPr>
            <p:nvPr/>
          </p:nvSpPr>
          <p:spPr bwMode="auto">
            <a:xfrm>
              <a:off x="4637088" y="10882313"/>
              <a:ext cx="5272088" cy="1957388"/>
            </a:xfrm>
            <a:custGeom>
              <a:avLst/>
              <a:gdLst>
                <a:gd name="T0" fmla="*/ 392 w 3321"/>
                <a:gd name="T1" fmla="*/ 0 h 1233"/>
                <a:gd name="T2" fmla="*/ 0 w 3321"/>
                <a:gd name="T3" fmla="*/ 726 h 1233"/>
                <a:gd name="T4" fmla="*/ 1661 w 3321"/>
                <a:gd name="T5" fmla="*/ 1233 h 1233"/>
                <a:gd name="T6" fmla="*/ 3321 w 3321"/>
                <a:gd name="T7" fmla="*/ 726 h 1233"/>
                <a:gd name="T8" fmla="*/ 2929 w 3321"/>
                <a:gd name="T9" fmla="*/ 0 h 1233"/>
                <a:gd name="T10" fmla="*/ 392 w 3321"/>
                <a:gd name="T11" fmla="*/ 0 h 1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21" h="1233">
                  <a:moveTo>
                    <a:pt x="392" y="0"/>
                  </a:moveTo>
                  <a:lnTo>
                    <a:pt x="0" y="726"/>
                  </a:lnTo>
                  <a:lnTo>
                    <a:pt x="1661" y="1233"/>
                  </a:lnTo>
                  <a:lnTo>
                    <a:pt x="3321" y="726"/>
                  </a:lnTo>
                  <a:lnTo>
                    <a:pt x="2929" y="0"/>
                  </a:lnTo>
                  <a:lnTo>
                    <a:pt x="39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294" name="Freeform 208"/>
            <p:cNvSpPr>
              <a:spLocks/>
            </p:cNvSpPr>
            <p:nvPr/>
          </p:nvSpPr>
          <p:spPr bwMode="auto">
            <a:xfrm>
              <a:off x="3649663" y="6835775"/>
              <a:ext cx="7265988" cy="5692775"/>
            </a:xfrm>
            <a:custGeom>
              <a:avLst/>
              <a:gdLst>
                <a:gd name="T0" fmla="*/ 375 w 397"/>
                <a:gd name="T1" fmla="*/ 49 h 311"/>
                <a:gd name="T2" fmla="*/ 361 w 397"/>
                <a:gd name="T3" fmla="*/ 0 h 311"/>
                <a:gd name="T4" fmla="*/ 318 w 397"/>
                <a:gd name="T5" fmla="*/ 17 h 311"/>
                <a:gd name="T6" fmla="*/ 336 w 397"/>
                <a:gd name="T7" fmla="*/ 129 h 311"/>
                <a:gd name="T8" fmla="*/ 311 w 397"/>
                <a:gd name="T9" fmla="*/ 192 h 311"/>
                <a:gd name="T10" fmla="*/ 198 w 397"/>
                <a:gd name="T11" fmla="*/ 184 h 311"/>
                <a:gd name="T12" fmla="*/ 86 w 397"/>
                <a:gd name="T13" fmla="*/ 192 h 311"/>
                <a:gd name="T14" fmla="*/ 61 w 397"/>
                <a:gd name="T15" fmla="*/ 129 h 311"/>
                <a:gd name="T16" fmla="*/ 71 w 397"/>
                <a:gd name="T17" fmla="*/ 26 h 311"/>
                <a:gd name="T18" fmla="*/ 35 w 397"/>
                <a:gd name="T19" fmla="*/ 0 h 311"/>
                <a:gd name="T20" fmla="*/ 22 w 397"/>
                <a:gd name="T21" fmla="*/ 49 h 311"/>
                <a:gd name="T22" fmla="*/ 3 w 397"/>
                <a:gd name="T23" fmla="*/ 162 h 311"/>
                <a:gd name="T24" fmla="*/ 74 w 397"/>
                <a:gd name="T25" fmla="*/ 292 h 311"/>
                <a:gd name="T26" fmla="*/ 198 w 397"/>
                <a:gd name="T27" fmla="*/ 311 h 311"/>
                <a:gd name="T28" fmla="*/ 323 w 397"/>
                <a:gd name="T29" fmla="*/ 292 h 311"/>
                <a:gd name="T30" fmla="*/ 394 w 397"/>
                <a:gd name="T31" fmla="*/ 162 h 311"/>
                <a:gd name="T32" fmla="*/ 375 w 397"/>
                <a:gd name="T33" fmla="*/ 4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7" h="311">
                  <a:moveTo>
                    <a:pt x="375" y="49"/>
                  </a:moveTo>
                  <a:cubicBezTo>
                    <a:pt x="370" y="27"/>
                    <a:pt x="361" y="0"/>
                    <a:pt x="361" y="0"/>
                  </a:cubicBezTo>
                  <a:cubicBezTo>
                    <a:pt x="318" y="17"/>
                    <a:pt x="318" y="17"/>
                    <a:pt x="318" y="17"/>
                  </a:cubicBezTo>
                  <a:cubicBezTo>
                    <a:pt x="318" y="17"/>
                    <a:pt x="337" y="99"/>
                    <a:pt x="336" y="129"/>
                  </a:cubicBezTo>
                  <a:cubicBezTo>
                    <a:pt x="334" y="160"/>
                    <a:pt x="321" y="186"/>
                    <a:pt x="311" y="192"/>
                  </a:cubicBezTo>
                  <a:cubicBezTo>
                    <a:pt x="311" y="192"/>
                    <a:pt x="255" y="184"/>
                    <a:pt x="198" y="184"/>
                  </a:cubicBezTo>
                  <a:cubicBezTo>
                    <a:pt x="142" y="184"/>
                    <a:pt x="86" y="192"/>
                    <a:pt x="86" y="192"/>
                  </a:cubicBezTo>
                  <a:cubicBezTo>
                    <a:pt x="76" y="186"/>
                    <a:pt x="63" y="160"/>
                    <a:pt x="61" y="129"/>
                  </a:cubicBezTo>
                  <a:cubicBezTo>
                    <a:pt x="59" y="99"/>
                    <a:pt x="71" y="26"/>
                    <a:pt x="71" y="2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27" y="27"/>
                    <a:pt x="22" y="49"/>
                  </a:cubicBezTo>
                  <a:cubicBezTo>
                    <a:pt x="16" y="71"/>
                    <a:pt x="0" y="116"/>
                    <a:pt x="3" y="162"/>
                  </a:cubicBezTo>
                  <a:cubicBezTo>
                    <a:pt x="6" y="208"/>
                    <a:pt x="74" y="292"/>
                    <a:pt x="74" y="292"/>
                  </a:cubicBezTo>
                  <a:cubicBezTo>
                    <a:pt x="198" y="311"/>
                    <a:pt x="198" y="311"/>
                    <a:pt x="198" y="311"/>
                  </a:cubicBezTo>
                  <a:cubicBezTo>
                    <a:pt x="323" y="292"/>
                    <a:pt x="323" y="292"/>
                    <a:pt x="323" y="292"/>
                  </a:cubicBezTo>
                  <a:cubicBezTo>
                    <a:pt x="323" y="292"/>
                    <a:pt x="391" y="208"/>
                    <a:pt x="394" y="162"/>
                  </a:cubicBezTo>
                  <a:cubicBezTo>
                    <a:pt x="397" y="116"/>
                    <a:pt x="380" y="71"/>
                    <a:pt x="375" y="49"/>
                  </a:cubicBezTo>
                </a:path>
              </a:pathLst>
            </a:custGeom>
            <a:solidFill>
              <a:srgbClr val="D0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295" name="Freeform 209"/>
            <p:cNvSpPr>
              <a:spLocks/>
            </p:cNvSpPr>
            <p:nvPr/>
          </p:nvSpPr>
          <p:spPr bwMode="auto">
            <a:xfrm>
              <a:off x="3649663" y="6835775"/>
              <a:ext cx="3751263" cy="5692775"/>
            </a:xfrm>
            <a:custGeom>
              <a:avLst/>
              <a:gdLst>
                <a:gd name="T0" fmla="*/ 87 w 205"/>
                <a:gd name="T1" fmla="*/ 292 h 311"/>
                <a:gd name="T2" fmla="*/ 15 w 205"/>
                <a:gd name="T3" fmla="*/ 162 h 311"/>
                <a:gd name="T4" fmla="*/ 34 w 205"/>
                <a:gd name="T5" fmla="*/ 49 h 311"/>
                <a:gd name="T6" fmla="*/ 47 w 205"/>
                <a:gd name="T7" fmla="*/ 5 h 311"/>
                <a:gd name="T8" fmla="*/ 35 w 205"/>
                <a:gd name="T9" fmla="*/ 0 h 311"/>
                <a:gd name="T10" fmla="*/ 22 w 205"/>
                <a:gd name="T11" fmla="*/ 49 h 311"/>
                <a:gd name="T12" fmla="*/ 3 w 205"/>
                <a:gd name="T13" fmla="*/ 162 h 311"/>
                <a:gd name="T14" fmla="*/ 74 w 205"/>
                <a:gd name="T15" fmla="*/ 292 h 311"/>
                <a:gd name="T16" fmla="*/ 198 w 205"/>
                <a:gd name="T17" fmla="*/ 311 h 311"/>
                <a:gd name="T18" fmla="*/ 205 w 205"/>
                <a:gd name="T19" fmla="*/ 310 h 311"/>
                <a:gd name="T20" fmla="*/ 87 w 205"/>
                <a:gd name="T21" fmla="*/ 29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5" h="311">
                  <a:moveTo>
                    <a:pt x="87" y="292"/>
                  </a:moveTo>
                  <a:cubicBezTo>
                    <a:pt x="87" y="292"/>
                    <a:pt x="18" y="208"/>
                    <a:pt x="15" y="162"/>
                  </a:cubicBezTo>
                  <a:cubicBezTo>
                    <a:pt x="12" y="116"/>
                    <a:pt x="29" y="71"/>
                    <a:pt x="34" y="49"/>
                  </a:cubicBezTo>
                  <a:cubicBezTo>
                    <a:pt x="38" y="32"/>
                    <a:pt x="44" y="13"/>
                    <a:pt x="47" y="5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27" y="27"/>
                    <a:pt x="22" y="49"/>
                  </a:cubicBezTo>
                  <a:cubicBezTo>
                    <a:pt x="16" y="71"/>
                    <a:pt x="0" y="116"/>
                    <a:pt x="3" y="162"/>
                  </a:cubicBezTo>
                  <a:cubicBezTo>
                    <a:pt x="6" y="208"/>
                    <a:pt x="74" y="292"/>
                    <a:pt x="74" y="292"/>
                  </a:cubicBezTo>
                  <a:cubicBezTo>
                    <a:pt x="198" y="311"/>
                    <a:pt x="198" y="311"/>
                    <a:pt x="198" y="311"/>
                  </a:cubicBezTo>
                  <a:cubicBezTo>
                    <a:pt x="205" y="310"/>
                    <a:pt x="205" y="310"/>
                    <a:pt x="205" y="310"/>
                  </a:cubicBezTo>
                  <a:cubicBezTo>
                    <a:pt x="87" y="292"/>
                    <a:pt x="87" y="292"/>
                    <a:pt x="87" y="292"/>
                  </a:cubicBezTo>
                </a:path>
              </a:pathLst>
            </a:custGeom>
            <a:solidFill>
              <a:srgbClr val="C2C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296" name="Freeform 210"/>
            <p:cNvSpPr>
              <a:spLocks/>
            </p:cNvSpPr>
            <p:nvPr/>
          </p:nvSpPr>
          <p:spPr bwMode="auto">
            <a:xfrm>
              <a:off x="8720138" y="4840288"/>
              <a:ext cx="822325" cy="420688"/>
            </a:xfrm>
            <a:custGeom>
              <a:avLst/>
              <a:gdLst>
                <a:gd name="T0" fmla="*/ 45 w 45"/>
                <a:gd name="T1" fmla="*/ 7 h 23"/>
                <a:gd name="T2" fmla="*/ 31 w 45"/>
                <a:gd name="T3" fmla="*/ 3 h 23"/>
                <a:gd name="T4" fmla="*/ 4 w 45"/>
                <a:gd name="T5" fmla="*/ 12 h 23"/>
                <a:gd name="T6" fmla="*/ 8 w 45"/>
                <a:gd name="T7" fmla="*/ 22 h 23"/>
                <a:gd name="T8" fmla="*/ 31 w 45"/>
                <a:gd name="T9" fmla="*/ 16 h 23"/>
                <a:gd name="T10" fmla="*/ 45 w 45"/>
                <a:gd name="T11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23">
                  <a:moveTo>
                    <a:pt x="45" y="7"/>
                  </a:moveTo>
                  <a:cubicBezTo>
                    <a:pt x="45" y="7"/>
                    <a:pt x="40" y="0"/>
                    <a:pt x="31" y="3"/>
                  </a:cubicBezTo>
                  <a:cubicBezTo>
                    <a:pt x="23" y="6"/>
                    <a:pt x="8" y="11"/>
                    <a:pt x="4" y="12"/>
                  </a:cubicBezTo>
                  <a:cubicBezTo>
                    <a:pt x="0" y="13"/>
                    <a:pt x="1" y="22"/>
                    <a:pt x="8" y="22"/>
                  </a:cubicBezTo>
                  <a:cubicBezTo>
                    <a:pt x="15" y="23"/>
                    <a:pt x="31" y="16"/>
                    <a:pt x="31" y="16"/>
                  </a:cubicBezTo>
                  <a:lnTo>
                    <a:pt x="45" y="7"/>
                  </a:lnTo>
                  <a:close/>
                </a:path>
              </a:pathLst>
            </a:custGeom>
            <a:solidFill>
              <a:srgbClr val="DCAD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297" name="Freeform 211"/>
            <p:cNvSpPr>
              <a:spLocks/>
            </p:cNvSpPr>
            <p:nvPr/>
          </p:nvSpPr>
          <p:spPr bwMode="auto">
            <a:xfrm>
              <a:off x="9121776" y="8374063"/>
              <a:ext cx="677863" cy="1976438"/>
            </a:xfrm>
            <a:custGeom>
              <a:avLst/>
              <a:gdLst>
                <a:gd name="T0" fmla="*/ 24 w 37"/>
                <a:gd name="T1" fmla="*/ 0 h 108"/>
                <a:gd name="T2" fmla="*/ 11 w 37"/>
                <a:gd name="T3" fmla="*/ 0 h 108"/>
                <a:gd name="T4" fmla="*/ 0 w 37"/>
                <a:gd name="T5" fmla="*/ 33 h 108"/>
                <a:gd name="T6" fmla="*/ 9 w 37"/>
                <a:gd name="T7" fmla="*/ 33 h 108"/>
                <a:gd name="T8" fmla="*/ 9 w 37"/>
                <a:gd name="T9" fmla="*/ 33 h 108"/>
                <a:gd name="T10" fmla="*/ 9 w 37"/>
                <a:gd name="T11" fmla="*/ 108 h 108"/>
                <a:gd name="T12" fmla="*/ 12 w 37"/>
                <a:gd name="T13" fmla="*/ 108 h 108"/>
                <a:gd name="T14" fmla="*/ 37 w 37"/>
                <a:gd name="T15" fmla="*/ 45 h 108"/>
                <a:gd name="T16" fmla="*/ 36 w 37"/>
                <a:gd name="T17" fmla="*/ 33 h 108"/>
                <a:gd name="T18" fmla="*/ 29 w 37"/>
                <a:gd name="T19" fmla="*/ 33 h 108"/>
                <a:gd name="T20" fmla="*/ 24 w 37"/>
                <a:gd name="T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108">
                  <a:moveTo>
                    <a:pt x="24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1" y="108"/>
                    <a:pt x="12" y="108"/>
                    <a:pt x="12" y="108"/>
                  </a:cubicBezTo>
                  <a:cubicBezTo>
                    <a:pt x="22" y="102"/>
                    <a:pt x="35" y="76"/>
                    <a:pt x="37" y="45"/>
                  </a:cubicBezTo>
                  <a:cubicBezTo>
                    <a:pt x="37" y="42"/>
                    <a:pt x="37" y="37"/>
                    <a:pt x="36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25"/>
                    <a:pt x="27" y="12"/>
                    <a:pt x="24" y="0"/>
                  </a:cubicBezTo>
                </a:path>
              </a:pathLst>
            </a:custGeom>
            <a:solidFill>
              <a:srgbClr val="C0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298" name="Freeform 212"/>
            <p:cNvSpPr>
              <a:spLocks/>
            </p:cNvSpPr>
            <p:nvPr/>
          </p:nvSpPr>
          <p:spPr bwMode="auto">
            <a:xfrm>
              <a:off x="9323388" y="8062913"/>
              <a:ext cx="238125" cy="311150"/>
            </a:xfrm>
            <a:custGeom>
              <a:avLst/>
              <a:gdLst>
                <a:gd name="T0" fmla="*/ 10 w 13"/>
                <a:gd name="T1" fmla="*/ 0 h 17"/>
                <a:gd name="T2" fmla="*/ 6 w 13"/>
                <a:gd name="T3" fmla="*/ 0 h 17"/>
                <a:gd name="T4" fmla="*/ 0 w 13"/>
                <a:gd name="T5" fmla="*/ 17 h 17"/>
                <a:gd name="T6" fmla="*/ 13 w 13"/>
                <a:gd name="T7" fmla="*/ 17 h 17"/>
                <a:gd name="T8" fmla="*/ 10 w 1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1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1"/>
                    <a:pt x="11" y="5"/>
                    <a:pt x="10" y="0"/>
                  </a:cubicBezTo>
                </a:path>
              </a:pathLst>
            </a:custGeom>
            <a:solidFill>
              <a:srgbClr val="959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299" name="Freeform 213"/>
            <p:cNvSpPr>
              <a:spLocks/>
            </p:cNvSpPr>
            <p:nvPr/>
          </p:nvSpPr>
          <p:spPr bwMode="auto">
            <a:xfrm>
              <a:off x="9432926" y="8026400"/>
              <a:ext cx="73025" cy="36513"/>
            </a:xfrm>
            <a:custGeom>
              <a:avLst/>
              <a:gdLst>
                <a:gd name="T0" fmla="*/ 3 w 4"/>
                <a:gd name="T1" fmla="*/ 0 h 2"/>
                <a:gd name="T2" fmla="*/ 1 w 4"/>
                <a:gd name="T3" fmla="*/ 0 h 2"/>
                <a:gd name="T4" fmla="*/ 0 w 4"/>
                <a:gd name="T5" fmla="*/ 2 h 2"/>
                <a:gd name="T6" fmla="*/ 4 w 4"/>
                <a:gd name="T7" fmla="*/ 2 h 2"/>
                <a:gd name="T8" fmla="*/ 3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3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3" y="0"/>
                  </a:cubicBezTo>
                </a:path>
              </a:pathLst>
            </a:custGeom>
            <a:solidFill>
              <a:srgbClr val="324A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00" name="Freeform 214"/>
            <p:cNvSpPr>
              <a:spLocks/>
            </p:cNvSpPr>
            <p:nvPr/>
          </p:nvSpPr>
          <p:spPr bwMode="auto">
            <a:xfrm>
              <a:off x="9451976" y="7953375"/>
              <a:ext cx="36513" cy="73025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4 h 4"/>
                <a:gd name="T4" fmla="*/ 2 w 2"/>
                <a:gd name="T5" fmla="*/ 4 h 4"/>
                <a:gd name="T6" fmla="*/ 2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1"/>
                    <a:pt x="2" y="0"/>
                  </a:cubicBezTo>
                </a:path>
              </a:pathLst>
            </a:custGeom>
            <a:solidFill>
              <a:srgbClr val="C0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01" name="Freeform 215"/>
            <p:cNvSpPr>
              <a:spLocks/>
            </p:cNvSpPr>
            <p:nvPr/>
          </p:nvSpPr>
          <p:spPr bwMode="auto">
            <a:xfrm>
              <a:off x="9561513" y="8374063"/>
              <a:ext cx="219075" cy="603250"/>
            </a:xfrm>
            <a:custGeom>
              <a:avLst/>
              <a:gdLst>
                <a:gd name="T0" fmla="*/ 8 w 12"/>
                <a:gd name="T1" fmla="*/ 0 h 33"/>
                <a:gd name="T2" fmla="*/ 0 w 12"/>
                <a:gd name="T3" fmla="*/ 0 h 33"/>
                <a:gd name="T4" fmla="*/ 5 w 12"/>
                <a:gd name="T5" fmla="*/ 33 h 33"/>
                <a:gd name="T6" fmla="*/ 12 w 12"/>
                <a:gd name="T7" fmla="*/ 33 h 33"/>
                <a:gd name="T8" fmla="*/ 8 w 12"/>
                <a:gd name="T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3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2"/>
                    <a:pt x="5" y="25"/>
                    <a:pt x="5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23"/>
                    <a:pt x="10" y="12"/>
                    <a:pt x="8" y="0"/>
                  </a:cubicBezTo>
                </a:path>
              </a:pathLst>
            </a:cu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02" name="Freeform 216"/>
            <p:cNvSpPr>
              <a:spLocks/>
            </p:cNvSpPr>
            <p:nvPr/>
          </p:nvSpPr>
          <p:spPr bwMode="auto">
            <a:xfrm>
              <a:off x="9505951" y="8062913"/>
              <a:ext cx="201613" cy="311150"/>
            </a:xfrm>
            <a:custGeom>
              <a:avLst/>
              <a:gdLst>
                <a:gd name="T0" fmla="*/ 9 w 11"/>
                <a:gd name="T1" fmla="*/ 0 h 17"/>
                <a:gd name="T2" fmla="*/ 0 w 11"/>
                <a:gd name="T3" fmla="*/ 0 h 17"/>
                <a:gd name="T4" fmla="*/ 3 w 11"/>
                <a:gd name="T5" fmla="*/ 17 h 17"/>
                <a:gd name="T6" fmla="*/ 11 w 11"/>
                <a:gd name="T7" fmla="*/ 17 h 17"/>
                <a:gd name="T8" fmla="*/ 9 w 11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7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5"/>
                    <a:pt x="2" y="11"/>
                    <a:pt x="3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1"/>
                    <a:pt x="10" y="5"/>
                    <a:pt x="9" y="0"/>
                  </a:cubicBezTo>
                </a:path>
              </a:pathLst>
            </a:custGeom>
            <a:solidFill>
              <a:srgbClr val="7A7D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03" name="Freeform 217"/>
            <p:cNvSpPr>
              <a:spLocks/>
            </p:cNvSpPr>
            <p:nvPr/>
          </p:nvSpPr>
          <p:spPr bwMode="auto">
            <a:xfrm>
              <a:off x="9488488" y="8026400"/>
              <a:ext cx="182563" cy="36513"/>
            </a:xfrm>
            <a:custGeom>
              <a:avLst/>
              <a:gdLst>
                <a:gd name="T0" fmla="*/ 9 w 10"/>
                <a:gd name="T1" fmla="*/ 0 h 2"/>
                <a:gd name="T2" fmla="*/ 0 w 10"/>
                <a:gd name="T3" fmla="*/ 0 h 2"/>
                <a:gd name="T4" fmla="*/ 1 w 10"/>
                <a:gd name="T5" fmla="*/ 2 h 2"/>
                <a:gd name="T6" fmla="*/ 10 w 10"/>
                <a:gd name="T7" fmla="*/ 2 h 2"/>
                <a:gd name="T8" fmla="*/ 9 w 10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9" y="1"/>
                    <a:pt x="9" y="0"/>
                  </a:cubicBezTo>
                </a:path>
              </a:pathLst>
            </a:custGeom>
            <a:solidFill>
              <a:srgbClr val="2E42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04" name="Freeform 218"/>
            <p:cNvSpPr>
              <a:spLocks/>
            </p:cNvSpPr>
            <p:nvPr/>
          </p:nvSpPr>
          <p:spPr bwMode="auto">
            <a:xfrm>
              <a:off x="9488488" y="7623175"/>
              <a:ext cx="165100" cy="403225"/>
            </a:xfrm>
            <a:custGeom>
              <a:avLst/>
              <a:gdLst>
                <a:gd name="T0" fmla="*/ 4 w 9"/>
                <a:gd name="T1" fmla="*/ 0 h 22"/>
                <a:gd name="T2" fmla="*/ 2 w 9"/>
                <a:gd name="T3" fmla="*/ 10 h 22"/>
                <a:gd name="T4" fmla="*/ 0 w 9"/>
                <a:gd name="T5" fmla="*/ 18 h 22"/>
                <a:gd name="T6" fmla="*/ 0 w 9"/>
                <a:gd name="T7" fmla="*/ 22 h 22"/>
                <a:gd name="T8" fmla="*/ 9 w 9"/>
                <a:gd name="T9" fmla="*/ 22 h 22"/>
                <a:gd name="T10" fmla="*/ 5 w 9"/>
                <a:gd name="T11" fmla="*/ 0 h 22"/>
                <a:gd name="T12" fmla="*/ 4 w 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2">
                  <a:moveTo>
                    <a:pt x="4" y="0"/>
                  </a:moveTo>
                  <a:cubicBezTo>
                    <a:pt x="2" y="0"/>
                    <a:pt x="2" y="10"/>
                    <a:pt x="2" y="1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21"/>
                    <a:pt x="0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14"/>
                    <a:pt x="6" y="7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</a:path>
              </a:pathLst>
            </a:cu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05" name="Freeform 219"/>
            <p:cNvSpPr>
              <a:spLocks/>
            </p:cNvSpPr>
            <p:nvPr/>
          </p:nvSpPr>
          <p:spPr bwMode="auto">
            <a:xfrm>
              <a:off x="9286876" y="8977313"/>
              <a:ext cx="0" cy="1373188"/>
            </a:xfrm>
            <a:custGeom>
              <a:avLst/>
              <a:gdLst>
                <a:gd name="T0" fmla="*/ 0 h 75"/>
                <a:gd name="T1" fmla="*/ 0 h 75"/>
                <a:gd name="T2" fmla="*/ 75 h 75"/>
                <a:gd name="T3" fmla="*/ 75 h 75"/>
                <a:gd name="T4" fmla="*/ 0 h 7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7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F5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06" name="Freeform 220"/>
            <p:cNvSpPr>
              <a:spLocks/>
            </p:cNvSpPr>
            <p:nvPr/>
          </p:nvSpPr>
          <p:spPr bwMode="auto">
            <a:xfrm>
              <a:off x="8866188" y="8977313"/>
              <a:ext cx="420688" cy="1373188"/>
            </a:xfrm>
            <a:custGeom>
              <a:avLst/>
              <a:gdLst>
                <a:gd name="T0" fmla="*/ 23 w 23"/>
                <a:gd name="T1" fmla="*/ 0 h 75"/>
                <a:gd name="T2" fmla="*/ 14 w 23"/>
                <a:gd name="T3" fmla="*/ 0 h 75"/>
                <a:gd name="T4" fmla="*/ 0 w 23"/>
                <a:gd name="T5" fmla="*/ 38 h 75"/>
                <a:gd name="T6" fmla="*/ 6 w 23"/>
                <a:gd name="T7" fmla="*/ 72 h 75"/>
                <a:gd name="T8" fmla="*/ 23 w 23"/>
                <a:gd name="T9" fmla="*/ 75 h 75"/>
                <a:gd name="T10" fmla="*/ 23 w 23"/>
                <a:gd name="T1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75">
                  <a:moveTo>
                    <a:pt x="23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4" y="73"/>
                    <a:pt x="20" y="74"/>
                    <a:pt x="23" y="75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9E54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07" name="Freeform 221"/>
            <p:cNvSpPr>
              <a:spLocks/>
            </p:cNvSpPr>
            <p:nvPr/>
          </p:nvSpPr>
          <p:spPr bwMode="auto">
            <a:xfrm>
              <a:off x="8664576" y="9674225"/>
              <a:ext cx="311150" cy="622300"/>
            </a:xfrm>
            <a:custGeom>
              <a:avLst/>
              <a:gdLst>
                <a:gd name="T0" fmla="*/ 11 w 17"/>
                <a:gd name="T1" fmla="*/ 0 h 34"/>
                <a:gd name="T2" fmla="*/ 0 w 17"/>
                <a:gd name="T3" fmla="*/ 33 h 34"/>
                <a:gd name="T4" fmla="*/ 17 w 17"/>
                <a:gd name="T5" fmla="*/ 34 h 34"/>
                <a:gd name="T6" fmla="*/ 11 w 17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4">
                  <a:moveTo>
                    <a:pt x="11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6" y="33"/>
                    <a:pt x="12" y="34"/>
                    <a:pt x="17" y="34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0E10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08" name="Freeform 222"/>
            <p:cNvSpPr>
              <a:spLocks/>
            </p:cNvSpPr>
            <p:nvPr/>
          </p:nvSpPr>
          <p:spPr bwMode="auto">
            <a:xfrm>
              <a:off x="8664576" y="7623175"/>
              <a:ext cx="1500188" cy="2892425"/>
            </a:xfrm>
            <a:custGeom>
              <a:avLst/>
              <a:gdLst>
                <a:gd name="T0" fmla="*/ 50 w 82"/>
                <a:gd name="T1" fmla="*/ 0 h 158"/>
                <a:gd name="T2" fmla="*/ 54 w 82"/>
                <a:gd name="T3" fmla="*/ 22 h 158"/>
                <a:gd name="T4" fmla="*/ 55 w 82"/>
                <a:gd name="T5" fmla="*/ 24 h 158"/>
                <a:gd name="T6" fmla="*/ 57 w 82"/>
                <a:gd name="T7" fmla="*/ 41 h 158"/>
                <a:gd name="T8" fmla="*/ 61 w 82"/>
                <a:gd name="T9" fmla="*/ 74 h 158"/>
                <a:gd name="T10" fmla="*/ 62 w 82"/>
                <a:gd name="T11" fmla="*/ 86 h 158"/>
                <a:gd name="T12" fmla="*/ 37 w 82"/>
                <a:gd name="T13" fmla="*/ 149 h 158"/>
                <a:gd name="T14" fmla="*/ 34 w 82"/>
                <a:gd name="T15" fmla="*/ 149 h 158"/>
                <a:gd name="T16" fmla="*/ 34 w 82"/>
                <a:gd name="T17" fmla="*/ 149 h 158"/>
                <a:gd name="T18" fmla="*/ 17 w 82"/>
                <a:gd name="T19" fmla="*/ 146 h 158"/>
                <a:gd name="T20" fmla="*/ 0 w 82"/>
                <a:gd name="T21" fmla="*/ 145 h 158"/>
                <a:gd name="T22" fmla="*/ 0 w 82"/>
                <a:gd name="T23" fmla="*/ 145 h 158"/>
                <a:gd name="T24" fmla="*/ 45 w 82"/>
                <a:gd name="T25" fmla="*/ 157 h 158"/>
                <a:gd name="T26" fmla="*/ 46 w 82"/>
                <a:gd name="T27" fmla="*/ 158 h 158"/>
                <a:gd name="T28" fmla="*/ 64 w 82"/>
                <a:gd name="T29" fmla="*/ 39 h 158"/>
                <a:gd name="T30" fmla="*/ 50 w 82"/>
                <a:gd name="T31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" h="158">
                  <a:moveTo>
                    <a:pt x="50" y="0"/>
                  </a:moveTo>
                  <a:cubicBezTo>
                    <a:pt x="51" y="7"/>
                    <a:pt x="53" y="14"/>
                    <a:pt x="54" y="22"/>
                  </a:cubicBezTo>
                  <a:cubicBezTo>
                    <a:pt x="54" y="23"/>
                    <a:pt x="54" y="23"/>
                    <a:pt x="55" y="24"/>
                  </a:cubicBezTo>
                  <a:cubicBezTo>
                    <a:pt x="56" y="29"/>
                    <a:pt x="57" y="35"/>
                    <a:pt x="57" y="41"/>
                  </a:cubicBezTo>
                  <a:cubicBezTo>
                    <a:pt x="59" y="53"/>
                    <a:pt x="61" y="64"/>
                    <a:pt x="61" y="74"/>
                  </a:cubicBezTo>
                  <a:cubicBezTo>
                    <a:pt x="62" y="78"/>
                    <a:pt x="62" y="83"/>
                    <a:pt x="62" y="86"/>
                  </a:cubicBezTo>
                  <a:cubicBezTo>
                    <a:pt x="60" y="117"/>
                    <a:pt x="47" y="143"/>
                    <a:pt x="37" y="149"/>
                  </a:cubicBezTo>
                  <a:cubicBezTo>
                    <a:pt x="37" y="149"/>
                    <a:pt x="36" y="149"/>
                    <a:pt x="34" y="149"/>
                  </a:cubicBezTo>
                  <a:cubicBezTo>
                    <a:pt x="34" y="149"/>
                    <a:pt x="34" y="149"/>
                    <a:pt x="34" y="149"/>
                  </a:cubicBezTo>
                  <a:cubicBezTo>
                    <a:pt x="31" y="148"/>
                    <a:pt x="25" y="147"/>
                    <a:pt x="17" y="146"/>
                  </a:cubicBezTo>
                  <a:cubicBezTo>
                    <a:pt x="12" y="146"/>
                    <a:pt x="6" y="145"/>
                    <a:pt x="0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5"/>
                    <a:pt x="28" y="150"/>
                    <a:pt x="45" y="157"/>
                  </a:cubicBezTo>
                  <a:cubicBezTo>
                    <a:pt x="46" y="157"/>
                    <a:pt x="46" y="158"/>
                    <a:pt x="46" y="158"/>
                  </a:cubicBezTo>
                  <a:cubicBezTo>
                    <a:pt x="57" y="158"/>
                    <a:pt x="82" y="103"/>
                    <a:pt x="64" y="39"/>
                  </a:cubicBezTo>
                  <a:cubicBezTo>
                    <a:pt x="56" y="13"/>
                    <a:pt x="52" y="3"/>
                    <a:pt x="50" y="0"/>
                  </a:cubicBezTo>
                </a:path>
              </a:pathLst>
            </a:custGeom>
            <a:solidFill>
              <a:srgbClr val="A3A4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09" name="Freeform 223"/>
            <p:cNvSpPr>
              <a:spLocks/>
            </p:cNvSpPr>
            <p:nvPr/>
          </p:nvSpPr>
          <p:spPr bwMode="auto">
            <a:xfrm>
              <a:off x="4637088" y="12345988"/>
              <a:ext cx="5272088" cy="677863"/>
            </a:xfrm>
            <a:custGeom>
              <a:avLst/>
              <a:gdLst>
                <a:gd name="T0" fmla="*/ 144 w 288"/>
                <a:gd name="T1" fmla="*/ 19 h 37"/>
                <a:gd name="T2" fmla="*/ 18 w 288"/>
                <a:gd name="T3" fmla="*/ 3 h 37"/>
                <a:gd name="T4" fmla="*/ 0 w 288"/>
                <a:gd name="T5" fmla="*/ 6 h 37"/>
                <a:gd name="T6" fmla="*/ 18 w 288"/>
                <a:gd name="T7" fmla="*/ 20 h 37"/>
                <a:gd name="T8" fmla="*/ 144 w 288"/>
                <a:gd name="T9" fmla="*/ 37 h 37"/>
                <a:gd name="T10" fmla="*/ 271 w 288"/>
                <a:gd name="T11" fmla="*/ 20 h 37"/>
                <a:gd name="T12" fmla="*/ 288 w 288"/>
                <a:gd name="T13" fmla="*/ 6 h 37"/>
                <a:gd name="T14" fmla="*/ 271 w 288"/>
                <a:gd name="T15" fmla="*/ 3 h 37"/>
                <a:gd name="T16" fmla="*/ 144 w 288"/>
                <a:gd name="T17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8" h="37">
                  <a:moveTo>
                    <a:pt x="144" y="19"/>
                  </a:moveTo>
                  <a:cubicBezTo>
                    <a:pt x="72" y="19"/>
                    <a:pt x="18" y="3"/>
                    <a:pt x="18" y="3"/>
                  </a:cubicBezTo>
                  <a:cubicBezTo>
                    <a:pt x="8" y="0"/>
                    <a:pt x="0" y="1"/>
                    <a:pt x="0" y="6"/>
                  </a:cubicBezTo>
                  <a:cubicBezTo>
                    <a:pt x="0" y="11"/>
                    <a:pt x="8" y="17"/>
                    <a:pt x="18" y="20"/>
                  </a:cubicBezTo>
                  <a:cubicBezTo>
                    <a:pt x="18" y="20"/>
                    <a:pt x="72" y="37"/>
                    <a:pt x="144" y="37"/>
                  </a:cubicBezTo>
                  <a:cubicBezTo>
                    <a:pt x="217" y="37"/>
                    <a:pt x="271" y="20"/>
                    <a:pt x="271" y="20"/>
                  </a:cubicBezTo>
                  <a:cubicBezTo>
                    <a:pt x="280" y="17"/>
                    <a:pt x="288" y="11"/>
                    <a:pt x="288" y="6"/>
                  </a:cubicBezTo>
                  <a:cubicBezTo>
                    <a:pt x="288" y="1"/>
                    <a:pt x="280" y="0"/>
                    <a:pt x="271" y="3"/>
                  </a:cubicBezTo>
                  <a:cubicBezTo>
                    <a:pt x="271" y="3"/>
                    <a:pt x="217" y="19"/>
                    <a:pt x="144" y="19"/>
                  </a:cubicBezTo>
                </a:path>
              </a:pathLst>
            </a:custGeom>
            <a:solidFill>
              <a:srgbClr val="EFEE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10" name="Freeform 224"/>
            <p:cNvSpPr>
              <a:spLocks/>
            </p:cNvSpPr>
            <p:nvPr/>
          </p:nvSpPr>
          <p:spPr bwMode="auto">
            <a:xfrm>
              <a:off x="4473576" y="12017375"/>
              <a:ext cx="5618163" cy="712788"/>
            </a:xfrm>
            <a:custGeom>
              <a:avLst/>
              <a:gdLst>
                <a:gd name="T0" fmla="*/ 153 w 307"/>
                <a:gd name="T1" fmla="*/ 21 h 39"/>
                <a:gd name="T2" fmla="*/ 19 w 307"/>
                <a:gd name="T3" fmla="*/ 3 h 39"/>
                <a:gd name="T4" fmla="*/ 0 w 307"/>
                <a:gd name="T5" fmla="*/ 6 h 39"/>
                <a:gd name="T6" fmla="*/ 19 w 307"/>
                <a:gd name="T7" fmla="*/ 21 h 39"/>
                <a:gd name="T8" fmla="*/ 153 w 307"/>
                <a:gd name="T9" fmla="*/ 39 h 39"/>
                <a:gd name="T10" fmla="*/ 288 w 307"/>
                <a:gd name="T11" fmla="*/ 21 h 39"/>
                <a:gd name="T12" fmla="*/ 307 w 307"/>
                <a:gd name="T13" fmla="*/ 6 h 39"/>
                <a:gd name="T14" fmla="*/ 288 w 307"/>
                <a:gd name="T15" fmla="*/ 3 h 39"/>
                <a:gd name="T16" fmla="*/ 153 w 307"/>
                <a:gd name="T17" fmla="*/ 2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7" h="39">
                  <a:moveTo>
                    <a:pt x="153" y="21"/>
                  </a:moveTo>
                  <a:cubicBezTo>
                    <a:pt x="76" y="21"/>
                    <a:pt x="19" y="3"/>
                    <a:pt x="19" y="3"/>
                  </a:cubicBezTo>
                  <a:cubicBezTo>
                    <a:pt x="8" y="0"/>
                    <a:pt x="0" y="1"/>
                    <a:pt x="0" y="6"/>
                  </a:cubicBezTo>
                  <a:cubicBezTo>
                    <a:pt x="0" y="11"/>
                    <a:pt x="8" y="18"/>
                    <a:pt x="19" y="21"/>
                  </a:cubicBezTo>
                  <a:cubicBezTo>
                    <a:pt x="19" y="21"/>
                    <a:pt x="76" y="39"/>
                    <a:pt x="153" y="39"/>
                  </a:cubicBezTo>
                  <a:cubicBezTo>
                    <a:pt x="230" y="39"/>
                    <a:pt x="288" y="21"/>
                    <a:pt x="288" y="21"/>
                  </a:cubicBezTo>
                  <a:cubicBezTo>
                    <a:pt x="299" y="18"/>
                    <a:pt x="307" y="11"/>
                    <a:pt x="307" y="6"/>
                  </a:cubicBezTo>
                  <a:cubicBezTo>
                    <a:pt x="307" y="1"/>
                    <a:pt x="299" y="0"/>
                    <a:pt x="288" y="3"/>
                  </a:cubicBezTo>
                  <a:cubicBezTo>
                    <a:pt x="288" y="3"/>
                    <a:pt x="230" y="21"/>
                    <a:pt x="153" y="21"/>
                  </a:cubicBezTo>
                </a:path>
              </a:pathLst>
            </a:custGeom>
            <a:solidFill>
              <a:srgbClr val="EE70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11" name="Freeform 225"/>
            <p:cNvSpPr>
              <a:spLocks noEditPoints="1"/>
            </p:cNvSpPr>
            <p:nvPr/>
          </p:nvSpPr>
          <p:spPr bwMode="auto">
            <a:xfrm>
              <a:off x="4656138" y="12382500"/>
              <a:ext cx="5253038" cy="439738"/>
            </a:xfrm>
            <a:custGeom>
              <a:avLst/>
              <a:gdLst>
                <a:gd name="T0" fmla="*/ 4 w 287"/>
                <a:gd name="T1" fmla="*/ 0 h 24"/>
                <a:gd name="T2" fmla="*/ 0 w 287"/>
                <a:gd name="T3" fmla="*/ 3 h 24"/>
                <a:gd name="T4" fmla="*/ 9 w 287"/>
                <a:gd name="T5" fmla="*/ 7 h 24"/>
                <a:gd name="T6" fmla="*/ 116 w 287"/>
                <a:gd name="T7" fmla="*/ 24 h 24"/>
                <a:gd name="T8" fmla="*/ 103 w 287"/>
                <a:gd name="T9" fmla="*/ 17 h 24"/>
                <a:gd name="T10" fmla="*/ 9 w 287"/>
                <a:gd name="T11" fmla="*/ 1 h 24"/>
                <a:gd name="T12" fmla="*/ 4 w 287"/>
                <a:gd name="T13" fmla="*/ 0 h 24"/>
                <a:gd name="T14" fmla="*/ 283 w 287"/>
                <a:gd name="T15" fmla="*/ 0 h 24"/>
                <a:gd name="T16" fmla="*/ 278 w 287"/>
                <a:gd name="T17" fmla="*/ 1 h 24"/>
                <a:gd name="T18" fmla="*/ 184 w 287"/>
                <a:gd name="T19" fmla="*/ 17 h 24"/>
                <a:gd name="T20" fmla="*/ 170 w 287"/>
                <a:gd name="T21" fmla="*/ 24 h 24"/>
                <a:gd name="T22" fmla="*/ 278 w 287"/>
                <a:gd name="T23" fmla="*/ 7 h 24"/>
                <a:gd name="T24" fmla="*/ 287 w 287"/>
                <a:gd name="T25" fmla="*/ 3 h 24"/>
                <a:gd name="T26" fmla="*/ 283 w 287"/>
                <a:gd name="T2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7" h="24">
                  <a:moveTo>
                    <a:pt x="4" y="0"/>
                  </a:moveTo>
                  <a:cubicBezTo>
                    <a:pt x="2" y="0"/>
                    <a:pt x="0" y="1"/>
                    <a:pt x="0" y="3"/>
                  </a:cubicBezTo>
                  <a:cubicBezTo>
                    <a:pt x="2" y="5"/>
                    <a:pt x="5" y="6"/>
                    <a:pt x="9" y="7"/>
                  </a:cubicBezTo>
                  <a:cubicBezTo>
                    <a:pt x="9" y="7"/>
                    <a:pt x="53" y="21"/>
                    <a:pt x="116" y="24"/>
                  </a:cubicBezTo>
                  <a:cubicBezTo>
                    <a:pt x="111" y="22"/>
                    <a:pt x="107" y="20"/>
                    <a:pt x="103" y="17"/>
                  </a:cubicBezTo>
                  <a:cubicBezTo>
                    <a:pt x="47" y="13"/>
                    <a:pt x="9" y="1"/>
                    <a:pt x="9" y="1"/>
                  </a:cubicBezTo>
                  <a:cubicBezTo>
                    <a:pt x="7" y="1"/>
                    <a:pt x="6" y="0"/>
                    <a:pt x="4" y="0"/>
                  </a:cubicBezTo>
                  <a:moveTo>
                    <a:pt x="283" y="0"/>
                  </a:moveTo>
                  <a:cubicBezTo>
                    <a:pt x="281" y="0"/>
                    <a:pt x="280" y="1"/>
                    <a:pt x="278" y="1"/>
                  </a:cubicBezTo>
                  <a:cubicBezTo>
                    <a:pt x="278" y="1"/>
                    <a:pt x="240" y="13"/>
                    <a:pt x="184" y="17"/>
                  </a:cubicBezTo>
                  <a:cubicBezTo>
                    <a:pt x="180" y="20"/>
                    <a:pt x="175" y="22"/>
                    <a:pt x="170" y="24"/>
                  </a:cubicBezTo>
                  <a:cubicBezTo>
                    <a:pt x="234" y="21"/>
                    <a:pt x="278" y="7"/>
                    <a:pt x="278" y="7"/>
                  </a:cubicBezTo>
                  <a:cubicBezTo>
                    <a:pt x="281" y="6"/>
                    <a:pt x="284" y="5"/>
                    <a:pt x="287" y="3"/>
                  </a:cubicBezTo>
                  <a:cubicBezTo>
                    <a:pt x="287" y="1"/>
                    <a:pt x="285" y="0"/>
                    <a:pt x="283" y="0"/>
                  </a:cubicBezTo>
                </a:path>
              </a:pathLst>
            </a:custGeom>
            <a:solidFill>
              <a:srgbClr val="B7B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12" name="Freeform 226"/>
            <p:cNvSpPr>
              <a:spLocks/>
            </p:cNvSpPr>
            <p:nvPr/>
          </p:nvSpPr>
          <p:spPr bwMode="auto">
            <a:xfrm>
              <a:off x="5900738" y="9509125"/>
              <a:ext cx="2763838" cy="3405188"/>
            </a:xfrm>
            <a:custGeom>
              <a:avLst/>
              <a:gdLst>
                <a:gd name="T0" fmla="*/ 0 w 151"/>
                <a:gd name="T1" fmla="*/ 103 h 186"/>
                <a:gd name="T2" fmla="*/ 75 w 151"/>
                <a:gd name="T3" fmla="*/ 0 h 186"/>
                <a:gd name="T4" fmla="*/ 151 w 151"/>
                <a:gd name="T5" fmla="*/ 103 h 186"/>
                <a:gd name="T6" fmla="*/ 75 w 151"/>
                <a:gd name="T7" fmla="*/ 186 h 186"/>
                <a:gd name="T8" fmla="*/ 0 w 151"/>
                <a:gd name="T9" fmla="*/ 10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186">
                  <a:moveTo>
                    <a:pt x="0" y="103"/>
                  </a:moveTo>
                  <a:cubicBezTo>
                    <a:pt x="0" y="52"/>
                    <a:pt x="17" y="0"/>
                    <a:pt x="75" y="0"/>
                  </a:cubicBezTo>
                  <a:cubicBezTo>
                    <a:pt x="133" y="0"/>
                    <a:pt x="151" y="52"/>
                    <a:pt x="151" y="103"/>
                  </a:cubicBezTo>
                  <a:cubicBezTo>
                    <a:pt x="151" y="155"/>
                    <a:pt x="117" y="186"/>
                    <a:pt x="75" y="186"/>
                  </a:cubicBezTo>
                  <a:cubicBezTo>
                    <a:pt x="34" y="186"/>
                    <a:pt x="0" y="155"/>
                    <a:pt x="0" y="103"/>
                  </a:cubicBezTo>
                </a:path>
              </a:pathLst>
            </a:custGeom>
            <a:solidFill>
              <a:srgbClr val="4A4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13" name="Freeform 227"/>
            <p:cNvSpPr>
              <a:spLocks noEditPoints="1"/>
            </p:cNvSpPr>
            <p:nvPr/>
          </p:nvSpPr>
          <p:spPr bwMode="auto">
            <a:xfrm>
              <a:off x="5900738" y="11393488"/>
              <a:ext cx="0" cy="74613"/>
            </a:xfrm>
            <a:custGeom>
              <a:avLst/>
              <a:gdLst>
                <a:gd name="T0" fmla="*/ 4 h 4"/>
                <a:gd name="T1" fmla="*/ 3 h 4"/>
                <a:gd name="T2" fmla="*/ 3 h 4"/>
                <a:gd name="T3" fmla="*/ 3 h 4"/>
                <a:gd name="T4" fmla="*/ 3 h 4"/>
                <a:gd name="T5" fmla="*/ 3 h 4"/>
                <a:gd name="T6" fmla="*/ 3 h 4"/>
                <a:gd name="T7" fmla="*/ 3 h 4"/>
                <a:gd name="T8" fmla="*/ 3 h 4"/>
                <a:gd name="T9" fmla="*/ 2 h 4"/>
                <a:gd name="T10" fmla="*/ 2 h 4"/>
                <a:gd name="T11" fmla="*/ 2 h 4"/>
                <a:gd name="T12" fmla="*/ 2 h 4"/>
                <a:gd name="T13" fmla="*/ 2 h 4"/>
                <a:gd name="T14" fmla="*/ 2 h 4"/>
                <a:gd name="T15" fmla="*/ 2 h 4"/>
                <a:gd name="T16" fmla="*/ 2 h 4"/>
                <a:gd name="T17" fmla="*/ 2 h 4"/>
                <a:gd name="T18" fmla="*/ 2 h 4"/>
                <a:gd name="T19" fmla="*/ 1 h 4"/>
                <a:gd name="T20" fmla="*/ 1 h 4"/>
                <a:gd name="T21" fmla="*/ 1 h 4"/>
                <a:gd name="T22" fmla="*/ 1 h 4"/>
                <a:gd name="T23" fmla="*/ 1 h 4"/>
                <a:gd name="T24" fmla="*/ 1 h 4"/>
                <a:gd name="T25" fmla="*/ 1 h 4"/>
                <a:gd name="T26" fmla="*/ 1 h 4"/>
                <a:gd name="T27" fmla="*/ 1 h 4"/>
                <a:gd name="T28" fmla="*/ 0 h 4"/>
                <a:gd name="T29" fmla="*/ 0 h 4"/>
                <a:gd name="T30" fmla="*/ 0 h 4"/>
                <a:gd name="T31" fmla="*/ 0 h 4"/>
                <a:gd name="T32" fmla="*/ 0 h 4"/>
                <a:gd name="T33" fmla="*/ 0 h 4"/>
                <a:gd name="T34" fmla="*/ 0 h 4"/>
                <a:gd name="T35" fmla="*/ 0 h 4"/>
                <a:gd name="T36" fmla="*/ 0 h 4"/>
                <a:gd name="T37" fmla="*/ 0 h 4"/>
                <a:gd name="T38" fmla="*/ 0 h 4"/>
                <a:gd name="T39" fmla="*/ 0 h 4"/>
                <a:gd name="T40" fmla="*/ 0 h 4"/>
                <a:gd name="T41" fmla="*/ 0 h 4"/>
                <a:gd name="T4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  <a:cxn ang="0">
                  <a:pos x="0" y="T22"/>
                </a:cxn>
                <a:cxn ang="0">
                  <a:pos x="0" y="T23"/>
                </a:cxn>
                <a:cxn ang="0">
                  <a:pos x="0" y="T24"/>
                </a:cxn>
                <a:cxn ang="0">
                  <a:pos x="0" y="T25"/>
                </a:cxn>
                <a:cxn ang="0">
                  <a:pos x="0" y="T26"/>
                </a:cxn>
                <a:cxn ang="0">
                  <a:pos x="0" y="T27"/>
                </a:cxn>
                <a:cxn ang="0">
                  <a:pos x="0" y="T28"/>
                </a:cxn>
                <a:cxn ang="0">
                  <a:pos x="0" y="T29"/>
                </a:cxn>
                <a:cxn ang="0">
                  <a:pos x="0" y="T30"/>
                </a:cxn>
                <a:cxn ang="0">
                  <a:pos x="0" y="T31"/>
                </a:cxn>
                <a:cxn ang="0">
                  <a:pos x="0" y="T32"/>
                </a:cxn>
                <a:cxn ang="0">
                  <a:pos x="0" y="T33"/>
                </a:cxn>
                <a:cxn ang="0">
                  <a:pos x="0" y="T34"/>
                </a:cxn>
                <a:cxn ang="0">
                  <a:pos x="0" y="T35"/>
                </a:cxn>
                <a:cxn ang="0">
                  <a:pos x="0" y="T36"/>
                </a:cxn>
                <a:cxn ang="0">
                  <a:pos x="0" y="T37"/>
                </a:cxn>
                <a:cxn ang="0">
                  <a:pos x="0" y="T38"/>
                </a:cxn>
                <a:cxn ang="0">
                  <a:pos x="0" y="T39"/>
                </a:cxn>
                <a:cxn ang="0">
                  <a:pos x="0" y="T40"/>
                </a:cxn>
                <a:cxn ang="0">
                  <a:pos x="0" y="T41"/>
                </a:cxn>
                <a:cxn ang="0">
                  <a:pos x="0" y="T42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0" y="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3A4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14" name="Freeform 228"/>
            <p:cNvSpPr>
              <a:spLocks/>
            </p:cNvSpPr>
            <p:nvPr/>
          </p:nvSpPr>
          <p:spPr bwMode="auto">
            <a:xfrm>
              <a:off x="5900738" y="9526588"/>
              <a:ext cx="1116013" cy="3332163"/>
            </a:xfrm>
            <a:custGeom>
              <a:avLst/>
              <a:gdLst>
                <a:gd name="T0" fmla="*/ 61 w 61"/>
                <a:gd name="T1" fmla="*/ 0 h 182"/>
                <a:gd name="T2" fmla="*/ 0 w 61"/>
                <a:gd name="T3" fmla="*/ 102 h 182"/>
                <a:gd name="T4" fmla="*/ 0 w 61"/>
                <a:gd name="T5" fmla="*/ 102 h 182"/>
                <a:gd name="T6" fmla="*/ 0 w 61"/>
                <a:gd name="T7" fmla="*/ 102 h 182"/>
                <a:gd name="T8" fmla="*/ 0 w 61"/>
                <a:gd name="T9" fmla="*/ 102 h 182"/>
                <a:gd name="T10" fmla="*/ 0 w 61"/>
                <a:gd name="T11" fmla="*/ 102 h 182"/>
                <a:gd name="T12" fmla="*/ 0 w 61"/>
                <a:gd name="T13" fmla="*/ 102 h 182"/>
                <a:gd name="T14" fmla="*/ 0 w 61"/>
                <a:gd name="T15" fmla="*/ 102 h 182"/>
                <a:gd name="T16" fmla="*/ 0 w 61"/>
                <a:gd name="T17" fmla="*/ 102 h 182"/>
                <a:gd name="T18" fmla="*/ 0 w 61"/>
                <a:gd name="T19" fmla="*/ 102 h 182"/>
                <a:gd name="T20" fmla="*/ 0 w 61"/>
                <a:gd name="T21" fmla="*/ 102 h 182"/>
                <a:gd name="T22" fmla="*/ 0 w 61"/>
                <a:gd name="T23" fmla="*/ 102 h 182"/>
                <a:gd name="T24" fmla="*/ 0 w 61"/>
                <a:gd name="T25" fmla="*/ 102 h 182"/>
                <a:gd name="T26" fmla="*/ 0 w 61"/>
                <a:gd name="T27" fmla="*/ 102 h 182"/>
                <a:gd name="T28" fmla="*/ 0 w 61"/>
                <a:gd name="T29" fmla="*/ 102 h 182"/>
                <a:gd name="T30" fmla="*/ 0 w 61"/>
                <a:gd name="T31" fmla="*/ 102 h 182"/>
                <a:gd name="T32" fmla="*/ 0 w 61"/>
                <a:gd name="T33" fmla="*/ 102 h 182"/>
                <a:gd name="T34" fmla="*/ 0 w 61"/>
                <a:gd name="T35" fmla="*/ 102 h 182"/>
                <a:gd name="T36" fmla="*/ 0 w 61"/>
                <a:gd name="T37" fmla="*/ 102 h 182"/>
                <a:gd name="T38" fmla="*/ 0 w 61"/>
                <a:gd name="T39" fmla="*/ 102 h 182"/>
                <a:gd name="T40" fmla="*/ 0 w 61"/>
                <a:gd name="T41" fmla="*/ 102 h 182"/>
                <a:gd name="T42" fmla="*/ 0 w 61"/>
                <a:gd name="T43" fmla="*/ 102 h 182"/>
                <a:gd name="T44" fmla="*/ 0 w 61"/>
                <a:gd name="T45" fmla="*/ 103 h 182"/>
                <a:gd name="T46" fmla="*/ 0 w 61"/>
                <a:gd name="T47" fmla="*/ 103 h 182"/>
                <a:gd name="T48" fmla="*/ 0 w 61"/>
                <a:gd name="T49" fmla="*/ 103 h 182"/>
                <a:gd name="T50" fmla="*/ 0 w 61"/>
                <a:gd name="T51" fmla="*/ 103 h 182"/>
                <a:gd name="T52" fmla="*/ 0 w 61"/>
                <a:gd name="T53" fmla="*/ 103 h 182"/>
                <a:gd name="T54" fmla="*/ 0 w 61"/>
                <a:gd name="T55" fmla="*/ 103 h 182"/>
                <a:gd name="T56" fmla="*/ 0 w 61"/>
                <a:gd name="T57" fmla="*/ 103 h 182"/>
                <a:gd name="T58" fmla="*/ 0 w 61"/>
                <a:gd name="T59" fmla="*/ 103 h 182"/>
                <a:gd name="T60" fmla="*/ 0 w 61"/>
                <a:gd name="T61" fmla="*/ 103 h 182"/>
                <a:gd name="T62" fmla="*/ 0 w 61"/>
                <a:gd name="T63" fmla="*/ 103 h 182"/>
                <a:gd name="T64" fmla="*/ 0 w 61"/>
                <a:gd name="T65" fmla="*/ 103 h 182"/>
                <a:gd name="T66" fmla="*/ 0 w 61"/>
                <a:gd name="T67" fmla="*/ 103 h 182"/>
                <a:gd name="T68" fmla="*/ 0 w 61"/>
                <a:gd name="T69" fmla="*/ 103 h 182"/>
                <a:gd name="T70" fmla="*/ 0 w 61"/>
                <a:gd name="T71" fmla="*/ 104 h 182"/>
                <a:gd name="T72" fmla="*/ 0 w 61"/>
                <a:gd name="T73" fmla="*/ 104 h 182"/>
                <a:gd name="T74" fmla="*/ 0 w 61"/>
                <a:gd name="T75" fmla="*/ 104 h 182"/>
                <a:gd name="T76" fmla="*/ 0 w 61"/>
                <a:gd name="T77" fmla="*/ 104 h 182"/>
                <a:gd name="T78" fmla="*/ 0 w 61"/>
                <a:gd name="T79" fmla="*/ 104 h 182"/>
                <a:gd name="T80" fmla="*/ 0 w 61"/>
                <a:gd name="T81" fmla="*/ 104 h 182"/>
                <a:gd name="T82" fmla="*/ 0 w 61"/>
                <a:gd name="T83" fmla="*/ 104 h 182"/>
                <a:gd name="T84" fmla="*/ 0 w 61"/>
                <a:gd name="T85" fmla="*/ 104 h 182"/>
                <a:gd name="T86" fmla="*/ 0 w 61"/>
                <a:gd name="T87" fmla="*/ 104 h 182"/>
                <a:gd name="T88" fmla="*/ 0 w 61"/>
                <a:gd name="T89" fmla="*/ 104 h 182"/>
                <a:gd name="T90" fmla="*/ 0 w 61"/>
                <a:gd name="T91" fmla="*/ 104 h 182"/>
                <a:gd name="T92" fmla="*/ 0 w 61"/>
                <a:gd name="T93" fmla="*/ 104 h 182"/>
                <a:gd name="T94" fmla="*/ 0 w 61"/>
                <a:gd name="T95" fmla="*/ 104 h 182"/>
                <a:gd name="T96" fmla="*/ 0 w 61"/>
                <a:gd name="T97" fmla="*/ 104 h 182"/>
                <a:gd name="T98" fmla="*/ 0 w 61"/>
                <a:gd name="T99" fmla="*/ 105 h 182"/>
                <a:gd name="T100" fmla="*/ 0 w 61"/>
                <a:gd name="T101" fmla="*/ 105 h 182"/>
                <a:gd name="T102" fmla="*/ 0 w 61"/>
                <a:gd name="T103" fmla="*/ 105 h 182"/>
                <a:gd name="T104" fmla="*/ 0 w 61"/>
                <a:gd name="T105" fmla="*/ 105 h 182"/>
                <a:gd name="T106" fmla="*/ 0 w 61"/>
                <a:gd name="T107" fmla="*/ 105 h 182"/>
                <a:gd name="T108" fmla="*/ 0 w 61"/>
                <a:gd name="T109" fmla="*/ 105 h 182"/>
                <a:gd name="T110" fmla="*/ 0 w 61"/>
                <a:gd name="T111" fmla="*/ 105 h 182"/>
                <a:gd name="T112" fmla="*/ 0 w 61"/>
                <a:gd name="T113" fmla="*/ 105 h 182"/>
                <a:gd name="T114" fmla="*/ 0 w 61"/>
                <a:gd name="T115" fmla="*/ 105 h 182"/>
                <a:gd name="T116" fmla="*/ 0 w 61"/>
                <a:gd name="T117" fmla="*/ 106 h 182"/>
                <a:gd name="T118" fmla="*/ 0 w 61"/>
                <a:gd name="T119" fmla="*/ 106 h 182"/>
                <a:gd name="T120" fmla="*/ 0 w 61"/>
                <a:gd name="T121" fmla="*/ 106 h 182"/>
                <a:gd name="T122" fmla="*/ 54 w 61"/>
                <a:gd name="T123" fmla="*/ 182 h 182"/>
                <a:gd name="T124" fmla="*/ 61 w 61"/>
                <a:gd name="T125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" h="182">
                  <a:moveTo>
                    <a:pt x="61" y="0"/>
                  </a:moveTo>
                  <a:cubicBezTo>
                    <a:pt x="15" y="8"/>
                    <a:pt x="0" y="55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3"/>
                    <a:pt x="0" y="103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" y="146"/>
                    <a:pt x="24" y="174"/>
                    <a:pt x="54" y="182"/>
                  </a:cubicBezTo>
                  <a:cubicBezTo>
                    <a:pt x="8" y="95"/>
                    <a:pt x="47" y="22"/>
                    <a:pt x="61" y="0"/>
                  </a:cubicBezTo>
                </a:path>
              </a:pathLst>
            </a:custGeom>
            <a:solidFill>
              <a:srgbClr val="3E43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15" name="Freeform 229"/>
            <p:cNvSpPr>
              <a:spLocks noEditPoints="1"/>
            </p:cNvSpPr>
            <p:nvPr/>
          </p:nvSpPr>
          <p:spPr bwMode="auto">
            <a:xfrm>
              <a:off x="4491038" y="4749800"/>
              <a:ext cx="1244600" cy="2159000"/>
            </a:xfrm>
            <a:custGeom>
              <a:avLst/>
              <a:gdLst>
                <a:gd name="T0" fmla="*/ 58 w 68"/>
                <a:gd name="T1" fmla="*/ 36 h 118"/>
                <a:gd name="T2" fmla="*/ 52 w 68"/>
                <a:gd name="T3" fmla="*/ 43 h 118"/>
                <a:gd name="T4" fmla="*/ 38 w 68"/>
                <a:gd name="T5" fmla="*/ 42 h 118"/>
                <a:gd name="T6" fmla="*/ 56 w 68"/>
                <a:gd name="T7" fmla="*/ 26 h 118"/>
                <a:gd name="T8" fmla="*/ 56 w 68"/>
                <a:gd name="T9" fmla="*/ 20 h 118"/>
                <a:gd name="T10" fmla="*/ 46 w 68"/>
                <a:gd name="T11" fmla="*/ 26 h 118"/>
                <a:gd name="T12" fmla="*/ 40 w 68"/>
                <a:gd name="T13" fmla="*/ 25 h 118"/>
                <a:gd name="T14" fmla="*/ 59 w 68"/>
                <a:gd name="T15" fmla="*/ 9 h 118"/>
                <a:gd name="T16" fmla="*/ 59 w 68"/>
                <a:gd name="T17" fmla="*/ 2 h 118"/>
                <a:gd name="T18" fmla="*/ 28 w 68"/>
                <a:gd name="T19" fmla="*/ 17 h 118"/>
                <a:gd name="T20" fmla="*/ 16 w 68"/>
                <a:gd name="T21" fmla="*/ 41 h 118"/>
                <a:gd name="T22" fmla="*/ 8 w 68"/>
                <a:gd name="T23" fmla="*/ 55 h 118"/>
                <a:gd name="T24" fmla="*/ 7 w 68"/>
                <a:gd name="T25" fmla="*/ 85 h 118"/>
                <a:gd name="T26" fmla="*/ 0 w 68"/>
                <a:gd name="T27" fmla="*/ 110 h 118"/>
                <a:gd name="T28" fmla="*/ 24 w 68"/>
                <a:gd name="T29" fmla="*/ 118 h 118"/>
                <a:gd name="T30" fmla="*/ 45 w 68"/>
                <a:gd name="T31" fmla="*/ 92 h 118"/>
                <a:gd name="T32" fmla="*/ 57 w 68"/>
                <a:gd name="T33" fmla="*/ 65 h 118"/>
                <a:gd name="T34" fmla="*/ 66 w 68"/>
                <a:gd name="T35" fmla="*/ 47 h 118"/>
                <a:gd name="T36" fmla="*/ 58 w 68"/>
                <a:gd name="T37" fmla="*/ 36 h 118"/>
                <a:gd name="T38" fmla="*/ 42 w 68"/>
                <a:gd name="T39" fmla="*/ 58 h 118"/>
                <a:gd name="T40" fmla="*/ 50 w 68"/>
                <a:gd name="T41" fmla="*/ 49 h 118"/>
                <a:gd name="T42" fmla="*/ 50 w 68"/>
                <a:gd name="T43" fmla="*/ 55 h 118"/>
                <a:gd name="T44" fmla="*/ 42 w 68"/>
                <a:gd name="T45" fmla="*/ 5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8" h="118">
                  <a:moveTo>
                    <a:pt x="58" y="36"/>
                  </a:moveTo>
                  <a:cubicBezTo>
                    <a:pt x="55" y="38"/>
                    <a:pt x="54" y="40"/>
                    <a:pt x="52" y="43"/>
                  </a:cubicBezTo>
                  <a:cubicBezTo>
                    <a:pt x="50" y="43"/>
                    <a:pt x="40" y="45"/>
                    <a:pt x="38" y="42"/>
                  </a:cubicBezTo>
                  <a:cubicBezTo>
                    <a:pt x="35" y="40"/>
                    <a:pt x="53" y="29"/>
                    <a:pt x="56" y="26"/>
                  </a:cubicBezTo>
                  <a:cubicBezTo>
                    <a:pt x="58" y="24"/>
                    <a:pt x="58" y="21"/>
                    <a:pt x="56" y="20"/>
                  </a:cubicBezTo>
                  <a:cubicBezTo>
                    <a:pt x="55" y="19"/>
                    <a:pt x="53" y="21"/>
                    <a:pt x="46" y="26"/>
                  </a:cubicBezTo>
                  <a:cubicBezTo>
                    <a:pt x="40" y="32"/>
                    <a:pt x="40" y="27"/>
                    <a:pt x="40" y="25"/>
                  </a:cubicBezTo>
                  <a:cubicBezTo>
                    <a:pt x="40" y="24"/>
                    <a:pt x="57" y="12"/>
                    <a:pt x="59" y="9"/>
                  </a:cubicBezTo>
                  <a:cubicBezTo>
                    <a:pt x="61" y="6"/>
                    <a:pt x="62" y="0"/>
                    <a:pt x="59" y="2"/>
                  </a:cubicBezTo>
                  <a:cubicBezTo>
                    <a:pt x="56" y="4"/>
                    <a:pt x="36" y="14"/>
                    <a:pt x="28" y="17"/>
                  </a:cubicBezTo>
                  <a:cubicBezTo>
                    <a:pt x="21" y="19"/>
                    <a:pt x="19" y="36"/>
                    <a:pt x="16" y="41"/>
                  </a:cubicBezTo>
                  <a:cubicBezTo>
                    <a:pt x="13" y="46"/>
                    <a:pt x="8" y="51"/>
                    <a:pt x="8" y="55"/>
                  </a:cubicBezTo>
                  <a:cubicBezTo>
                    <a:pt x="8" y="62"/>
                    <a:pt x="7" y="76"/>
                    <a:pt x="7" y="85"/>
                  </a:cubicBezTo>
                  <a:cubicBezTo>
                    <a:pt x="7" y="94"/>
                    <a:pt x="0" y="110"/>
                    <a:pt x="0" y="110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7" y="111"/>
                    <a:pt x="38" y="98"/>
                    <a:pt x="45" y="92"/>
                  </a:cubicBezTo>
                  <a:cubicBezTo>
                    <a:pt x="52" y="87"/>
                    <a:pt x="56" y="68"/>
                    <a:pt x="57" y="65"/>
                  </a:cubicBezTo>
                  <a:cubicBezTo>
                    <a:pt x="57" y="62"/>
                    <a:pt x="63" y="52"/>
                    <a:pt x="66" y="47"/>
                  </a:cubicBezTo>
                  <a:cubicBezTo>
                    <a:pt x="68" y="42"/>
                    <a:pt x="67" y="29"/>
                    <a:pt x="58" y="36"/>
                  </a:cubicBezTo>
                  <a:moveTo>
                    <a:pt x="42" y="58"/>
                  </a:moveTo>
                  <a:cubicBezTo>
                    <a:pt x="39" y="51"/>
                    <a:pt x="48" y="49"/>
                    <a:pt x="50" y="49"/>
                  </a:cubicBezTo>
                  <a:cubicBezTo>
                    <a:pt x="50" y="52"/>
                    <a:pt x="50" y="54"/>
                    <a:pt x="50" y="55"/>
                  </a:cubicBezTo>
                  <a:cubicBezTo>
                    <a:pt x="49" y="56"/>
                    <a:pt x="44" y="66"/>
                    <a:pt x="42" y="58"/>
                  </a:cubicBezTo>
                </a:path>
              </a:pathLst>
            </a:custGeom>
            <a:solidFill>
              <a:srgbClr val="DCAD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16" name="Freeform 230"/>
            <p:cNvSpPr>
              <a:spLocks/>
            </p:cNvSpPr>
            <p:nvPr/>
          </p:nvSpPr>
          <p:spPr bwMode="auto">
            <a:xfrm>
              <a:off x="4124326" y="6561138"/>
              <a:ext cx="933450" cy="1042988"/>
            </a:xfrm>
            <a:custGeom>
              <a:avLst/>
              <a:gdLst>
                <a:gd name="T0" fmla="*/ 588 w 588"/>
                <a:gd name="T1" fmla="*/ 185 h 657"/>
                <a:gd name="T2" fmla="*/ 588 w 588"/>
                <a:gd name="T3" fmla="*/ 657 h 657"/>
                <a:gd name="T4" fmla="*/ 0 w 588"/>
                <a:gd name="T5" fmla="*/ 346 h 657"/>
                <a:gd name="T6" fmla="*/ 208 w 588"/>
                <a:gd name="T7" fmla="*/ 0 h 657"/>
                <a:gd name="T8" fmla="*/ 588 w 588"/>
                <a:gd name="T9" fmla="*/ 185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8" h="657">
                  <a:moveTo>
                    <a:pt x="588" y="185"/>
                  </a:moveTo>
                  <a:lnTo>
                    <a:pt x="588" y="657"/>
                  </a:lnTo>
                  <a:lnTo>
                    <a:pt x="0" y="346"/>
                  </a:lnTo>
                  <a:lnTo>
                    <a:pt x="208" y="0"/>
                  </a:lnTo>
                  <a:lnTo>
                    <a:pt x="588" y="185"/>
                  </a:lnTo>
                  <a:close/>
                </a:path>
              </a:pathLst>
            </a:custGeom>
            <a:solidFill>
              <a:srgbClr val="E8E9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17" name="Freeform 231"/>
            <p:cNvSpPr>
              <a:spLocks/>
            </p:cNvSpPr>
            <p:nvPr/>
          </p:nvSpPr>
          <p:spPr bwMode="auto">
            <a:xfrm>
              <a:off x="5057776" y="5114925"/>
              <a:ext cx="476250" cy="860425"/>
            </a:xfrm>
            <a:custGeom>
              <a:avLst/>
              <a:gdLst>
                <a:gd name="T0" fmla="*/ 25 w 26"/>
                <a:gd name="T1" fmla="*/ 0 h 47"/>
                <a:gd name="T2" fmla="*/ 15 w 26"/>
                <a:gd name="T3" fmla="*/ 6 h 47"/>
                <a:gd name="T4" fmla="*/ 11 w 26"/>
                <a:gd name="T5" fmla="*/ 9 h 47"/>
                <a:gd name="T6" fmla="*/ 9 w 26"/>
                <a:gd name="T7" fmla="*/ 5 h 47"/>
                <a:gd name="T8" fmla="*/ 9 w 26"/>
                <a:gd name="T9" fmla="*/ 5 h 47"/>
                <a:gd name="T10" fmla="*/ 9 w 26"/>
                <a:gd name="T11" fmla="*/ 5 h 47"/>
                <a:gd name="T12" fmla="*/ 9 w 26"/>
                <a:gd name="T13" fmla="*/ 5 h 47"/>
                <a:gd name="T14" fmla="*/ 9 w 26"/>
                <a:gd name="T15" fmla="*/ 5 h 47"/>
                <a:gd name="T16" fmla="*/ 5 w 26"/>
                <a:gd name="T17" fmla="*/ 9 h 47"/>
                <a:gd name="T18" fmla="*/ 1 w 26"/>
                <a:gd name="T19" fmla="*/ 23 h 47"/>
                <a:gd name="T20" fmla="*/ 5 w 26"/>
                <a:gd name="T21" fmla="*/ 46 h 47"/>
                <a:gd name="T22" fmla="*/ 8 w 26"/>
                <a:gd name="T23" fmla="*/ 47 h 47"/>
                <a:gd name="T24" fmla="*/ 17 w 26"/>
                <a:gd name="T25" fmla="*/ 38 h 47"/>
                <a:gd name="T26" fmla="*/ 17 w 26"/>
                <a:gd name="T27" fmla="*/ 38 h 47"/>
                <a:gd name="T28" fmla="*/ 13 w 26"/>
                <a:gd name="T29" fmla="*/ 41 h 47"/>
                <a:gd name="T30" fmla="*/ 11 w 26"/>
                <a:gd name="T31" fmla="*/ 38 h 47"/>
                <a:gd name="T32" fmla="*/ 10 w 26"/>
                <a:gd name="T33" fmla="*/ 36 h 47"/>
                <a:gd name="T34" fmla="*/ 19 w 26"/>
                <a:gd name="T35" fmla="*/ 29 h 47"/>
                <a:gd name="T36" fmla="*/ 19 w 26"/>
                <a:gd name="T37" fmla="*/ 29 h 47"/>
                <a:gd name="T38" fmla="*/ 21 w 26"/>
                <a:gd name="T39" fmla="*/ 23 h 47"/>
                <a:gd name="T40" fmla="*/ 13 w 26"/>
                <a:gd name="T41" fmla="*/ 24 h 47"/>
                <a:gd name="T42" fmla="*/ 7 w 26"/>
                <a:gd name="T43" fmla="*/ 22 h 47"/>
                <a:gd name="T44" fmla="*/ 7 w 26"/>
                <a:gd name="T45" fmla="*/ 22 h 47"/>
                <a:gd name="T46" fmla="*/ 25 w 26"/>
                <a:gd name="T47" fmla="*/ 6 h 47"/>
                <a:gd name="T48" fmla="*/ 26 w 26"/>
                <a:gd name="T49" fmla="*/ 2 h 47"/>
                <a:gd name="T50" fmla="*/ 25 w 26"/>
                <a:gd name="T51" fmla="*/ 0 h 47"/>
                <a:gd name="T52" fmla="*/ 25 w 26"/>
                <a:gd name="T5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" h="47">
                  <a:moveTo>
                    <a:pt x="25" y="0"/>
                  </a:moveTo>
                  <a:cubicBezTo>
                    <a:pt x="23" y="0"/>
                    <a:pt x="21" y="2"/>
                    <a:pt x="15" y="6"/>
                  </a:cubicBezTo>
                  <a:cubicBezTo>
                    <a:pt x="13" y="8"/>
                    <a:pt x="12" y="9"/>
                    <a:pt x="11" y="9"/>
                  </a:cubicBezTo>
                  <a:cubicBezTo>
                    <a:pt x="9" y="9"/>
                    <a:pt x="9" y="6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5" y="7"/>
                    <a:pt x="5" y="9"/>
                  </a:cubicBezTo>
                  <a:cubicBezTo>
                    <a:pt x="4" y="10"/>
                    <a:pt x="1" y="16"/>
                    <a:pt x="1" y="23"/>
                  </a:cubicBezTo>
                  <a:cubicBezTo>
                    <a:pt x="0" y="32"/>
                    <a:pt x="3" y="43"/>
                    <a:pt x="5" y="46"/>
                  </a:cubicBezTo>
                  <a:cubicBezTo>
                    <a:pt x="6" y="46"/>
                    <a:pt x="7" y="47"/>
                    <a:pt x="8" y="47"/>
                  </a:cubicBezTo>
                  <a:cubicBezTo>
                    <a:pt x="12" y="47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39"/>
                    <a:pt x="15" y="41"/>
                    <a:pt x="13" y="41"/>
                  </a:cubicBezTo>
                  <a:cubicBezTo>
                    <a:pt x="12" y="41"/>
                    <a:pt x="11" y="40"/>
                    <a:pt x="11" y="38"/>
                  </a:cubicBezTo>
                  <a:cubicBezTo>
                    <a:pt x="10" y="37"/>
                    <a:pt x="10" y="37"/>
                    <a:pt x="10" y="36"/>
                  </a:cubicBezTo>
                  <a:cubicBezTo>
                    <a:pt x="10" y="31"/>
                    <a:pt x="17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20" y="24"/>
                    <a:pt x="21" y="23"/>
                  </a:cubicBezTo>
                  <a:cubicBezTo>
                    <a:pt x="20" y="23"/>
                    <a:pt x="16" y="24"/>
                    <a:pt x="13" y="24"/>
                  </a:cubicBezTo>
                  <a:cubicBezTo>
                    <a:pt x="10" y="24"/>
                    <a:pt x="8" y="23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18"/>
                    <a:pt x="22" y="9"/>
                    <a:pt x="25" y="6"/>
                  </a:cubicBezTo>
                  <a:cubicBezTo>
                    <a:pt x="26" y="5"/>
                    <a:pt x="26" y="4"/>
                    <a:pt x="26" y="2"/>
                  </a:cubicBezTo>
                  <a:cubicBezTo>
                    <a:pt x="26" y="1"/>
                    <a:pt x="26" y="1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AE8A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18" name="Freeform 232"/>
            <p:cNvSpPr>
              <a:spLocks/>
            </p:cNvSpPr>
            <p:nvPr/>
          </p:nvSpPr>
          <p:spPr bwMode="auto">
            <a:xfrm>
              <a:off x="5516563" y="5408613"/>
              <a:ext cx="238125" cy="163513"/>
            </a:xfrm>
            <a:custGeom>
              <a:avLst/>
              <a:gdLst>
                <a:gd name="T0" fmla="*/ 0 w 13"/>
                <a:gd name="T1" fmla="*/ 6 h 9"/>
                <a:gd name="T2" fmla="*/ 5 w 13"/>
                <a:gd name="T3" fmla="*/ 0 h 9"/>
                <a:gd name="T4" fmla="*/ 7 w 13"/>
                <a:gd name="T5" fmla="*/ 9 h 9"/>
                <a:gd name="T6" fmla="*/ 0 w 13"/>
                <a:gd name="T7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0" y="6"/>
                  </a:moveTo>
                  <a:cubicBezTo>
                    <a:pt x="0" y="6"/>
                    <a:pt x="2" y="0"/>
                    <a:pt x="5" y="0"/>
                  </a:cubicBezTo>
                  <a:cubicBezTo>
                    <a:pt x="8" y="0"/>
                    <a:pt x="13" y="3"/>
                    <a:pt x="7" y="9"/>
                  </a:cubicBezTo>
                  <a:cubicBezTo>
                    <a:pt x="7" y="9"/>
                    <a:pt x="5" y="7"/>
                    <a:pt x="0" y="6"/>
                  </a:cubicBezTo>
                  <a:close/>
                </a:path>
              </a:pathLst>
            </a:custGeom>
            <a:solidFill>
              <a:srgbClr val="EFC9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19" name="Freeform 233"/>
            <p:cNvSpPr>
              <a:spLocks/>
            </p:cNvSpPr>
            <p:nvPr/>
          </p:nvSpPr>
          <p:spPr bwMode="auto">
            <a:xfrm>
              <a:off x="5461001" y="4786313"/>
              <a:ext cx="128588" cy="53975"/>
            </a:xfrm>
            <a:custGeom>
              <a:avLst/>
              <a:gdLst>
                <a:gd name="T0" fmla="*/ 0 w 7"/>
                <a:gd name="T1" fmla="*/ 3 h 3"/>
                <a:gd name="T2" fmla="*/ 6 w 7"/>
                <a:gd name="T3" fmla="*/ 1 h 3"/>
                <a:gd name="T4" fmla="*/ 6 w 7"/>
                <a:gd name="T5" fmla="*/ 0 h 3"/>
                <a:gd name="T6" fmla="*/ 0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cubicBezTo>
                    <a:pt x="0" y="3"/>
                    <a:pt x="6" y="2"/>
                    <a:pt x="6" y="1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0" y="2"/>
                    <a:pt x="0" y="3"/>
                  </a:cubicBezTo>
                  <a:close/>
                </a:path>
              </a:pathLst>
            </a:custGeom>
            <a:solidFill>
              <a:srgbClr val="EFC9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20" name="Freeform 234"/>
            <p:cNvSpPr>
              <a:spLocks/>
            </p:cNvSpPr>
            <p:nvPr/>
          </p:nvSpPr>
          <p:spPr bwMode="auto">
            <a:xfrm>
              <a:off x="8720138" y="4986338"/>
              <a:ext cx="219075" cy="111125"/>
            </a:xfrm>
            <a:custGeom>
              <a:avLst/>
              <a:gdLst>
                <a:gd name="T0" fmla="*/ 1 w 12"/>
                <a:gd name="T1" fmla="*/ 6 h 6"/>
                <a:gd name="T2" fmla="*/ 2 w 12"/>
                <a:gd name="T3" fmla="*/ 6 h 6"/>
                <a:gd name="T4" fmla="*/ 11 w 12"/>
                <a:gd name="T5" fmla="*/ 1 h 6"/>
                <a:gd name="T6" fmla="*/ 1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" y="6"/>
                  </a:move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10" y="3"/>
                    <a:pt x="11" y="1"/>
                  </a:cubicBezTo>
                  <a:cubicBezTo>
                    <a:pt x="12" y="0"/>
                    <a:pt x="0" y="5"/>
                    <a:pt x="1" y="6"/>
                  </a:cubicBezTo>
                  <a:close/>
                </a:path>
              </a:pathLst>
            </a:custGeom>
            <a:solidFill>
              <a:srgbClr val="EFC9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21" name="Freeform 235"/>
            <p:cNvSpPr>
              <a:spLocks/>
            </p:cNvSpPr>
            <p:nvPr/>
          </p:nvSpPr>
          <p:spPr bwMode="auto">
            <a:xfrm>
              <a:off x="7969251" y="4711700"/>
              <a:ext cx="2122488" cy="1409700"/>
            </a:xfrm>
            <a:custGeom>
              <a:avLst/>
              <a:gdLst>
                <a:gd name="T0" fmla="*/ 1337 w 1337"/>
                <a:gd name="T1" fmla="*/ 104 h 888"/>
                <a:gd name="T2" fmla="*/ 69 w 1337"/>
                <a:gd name="T3" fmla="*/ 888 h 888"/>
                <a:gd name="T4" fmla="*/ 0 w 1337"/>
                <a:gd name="T5" fmla="*/ 785 h 888"/>
                <a:gd name="T6" fmla="*/ 1268 w 1337"/>
                <a:gd name="T7" fmla="*/ 0 h 888"/>
                <a:gd name="T8" fmla="*/ 1337 w 1337"/>
                <a:gd name="T9" fmla="*/ 104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7" h="888">
                  <a:moveTo>
                    <a:pt x="1337" y="104"/>
                  </a:moveTo>
                  <a:lnTo>
                    <a:pt x="69" y="888"/>
                  </a:lnTo>
                  <a:lnTo>
                    <a:pt x="0" y="785"/>
                  </a:lnTo>
                  <a:lnTo>
                    <a:pt x="1268" y="0"/>
                  </a:lnTo>
                  <a:lnTo>
                    <a:pt x="1337" y="104"/>
                  </a:lnTo>
                  <a:close/>
                </a:path>
              </a:pathLst>
            </a:custGeom>
            <a:solidFill>
              <a:srgbClr val="686C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22" name="Freeform 236"/>
            <p:cNvSpPr>
              <a:spLocks/>
            </p:cNvSpPr>
            <p:nvPr/>
          </p:nvSpPr>
          <p:spPr bwMode="auto">
            <a:xfrm>
              <a:off x="7969251" y="4711700"/>
              <a:ext cx="2122488" cy="1409700"/>
            </a:xfrm>
            <a:custGeom>
              <a:avLst/>
              <a:gdLst>
                <a:gd name="T0" fmla="*/ 1337 w 1337"/>
                <a:gd name="T1" fmla="*/ 104 h 888"/>
                <a:gd name="T2" fmla="*/ 69 w 1337"/>
                <a:gd name="T3" fmla="*/ 888 h 888"/>
                <a:gd name="T4" fmla="*/ 0 w 1337"/>
                <a:gd name="T5" fmla="*/ 785 h 888"/>
                <a:gd name="T6" fmla="*/ 1268 w 1337"/>
                <a:gd name="T7" fmla="*/ 0 h 888"/>
                <a:gd name="T8" fmla="*/ 1337 w 1337"/>
                <a:gd name="T9" fmla="*/ 104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7" h="888">
                  <a:moveTo>
                    <a:pt x="1337" y="104"/>
                  </a:moveTo>
                  <a:lnTo>
                    <a:pt x="69" y="888"/>
                  </a:lnTo>
                  <a:lnTo>
                    <a:pt x="0" y="785"/>
                  </a:lnTo>
                  <a:lnTo>
                    <a:pt x="1268" y="0"/>
                  </a:lnTo>
                  <a:lnTo>
                    <a:pt x="1337" y="10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23" name="Freeform 237"/>
            <p:cNvSpPr>
              <a:spLocks/>
            </p:cNvSpPr>
            <p:nvPr/>
          </p:nvSpPr>
          <p:spPr bwMode="auto">
            <a:xfrm>
              <a:off x="7859713" y="5975350"/>
              <a:ext cx="182563" cy="165100"/>
            </a:xfrm>
            <a:custGeom>
              <a:avLst/>
              <a:gdLst>
                <a:gd name="T0" fmla="*/ 10 w 10"/>
                <a:gd name="T1" fmla="*/ 9 h 9"/>
                <a:gd name="T2" fmla="*/ 2 w 10"/>
                <a:gd name="T3" fmla="*/ 9 h 9"/>
                <a:gd name="T4" fmla="*/ 1 w 10"/>
                <a:gd name="T5" fmla="*/ 9 h 9"/>
                <a:gd name="T6" fmla="*/ 1 w 10"/>
                <a:gd name="T7" fmla="*/ 7 h 9"/>
                <a:gd name="T8" fmla="*/ 5 w 10"/>
                <a:gd name="T9" fmla="*/ 0 h 9"/>
                <a:gd name="T10" fmla="*/ 10 w 10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9">
                  <a:moveTo>
                    <a:pt x="10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8"/>
                    <a:pt x="0" y="8"/>
                    <a:pt x="1" y="7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10" y="9"/>
                  </a:lnTo>
                  <a:close/>
                </a:path>
              </a:pathLst>
            </a:custGeom>
            <a:solidFill>
              <a:srgbClr val="4A4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24" name="Freeform 238"/>
            <p:cNvSpPr>
              <a:spLocks/>
            </p:cNvSpPr>
            <p:nvPr/>
          </p:nvSpPr>
          <p:spPr bwMode="auto">
            <a:xfrm>
              <a:off x="7950201" y="5938838"/>
              <a:ext cx="146050" cy="201613"/>
            </a:xfrm>
            <a:custGeom>
              <a:avLst/>
              <a:gdLst>
                <a:gd name="T0" fmla="*/ 92 w 92"/>
                <a:gd name="T1" fmla="*/ 104 h 127"/>
                <a:gd name="T2" fmla="*/ 58 w 92"/>
                <a:gd name="T3" fmla="*/ 127 h 127"/>
                <a:gd name="T4" fmla="*/ 0 w 92"/>
                <a:gd name="T5" fmla="*/ 23 h 127"/>
                <a:gd name="T6" fmla="*/ 23 w 92"/>
                <a:gd name="T7" fmla="*/ 0 h 127"/>
                <a:gd name="T8" fmla="*/ 92 w 92"/>
                <a:gd name="T9" fmla="*/ 10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27">
                  <a:moveTo>
                    <a:pt x="92" y="104"/>
                  </a:moveTo>
                  <a:lnTo>
                    <a:pt x="58" y="127"/>
                  </a:lnTo>
                  <a:lnTo>
                    <a:pt x="0" y="23"/>
                  </a:lnTo>
                  <a:lnTo>
                    <a:pt x="23" y="0"/>
                  </a:lnTo>
                  <a:lnTo>
                    <a:pt x="92" y="104"/>
                  </a:lnTo>
                  <a:close/>
                </a:path>
              </a:pathLst>
            </a:custGeom>
            <a:solidFill>
              <a:srgbClr val="424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25" name="Freeform 239"/>
            <p:cNvSpPr>
              <a:spLocks/>
            </p:cNvSpPr>
            <p:nvPr/>
          </p:nvSpPr>
          <p:spPr bwMode="auto">
            <a:xfrm>
              <a:off x="9432926" y="5024438"/>
              <a:ext cx="165100" cy="200025"/>
            </a:xfrm>
            <a:custGeom>
              <a:avLst/>
              <a:gdLst>
                <a:gd name="T0" fmla="*/ 104 w 104"/>
                <a:gd name="T1" fmla="*/ 103 h 126"/>
                <a:gd name="T2" fmla="*/ 69 w 104"/>
                <a:gd name="T3" fmla="*/ 126 h 126"/>
                <a:gd name="T4" fmla="*/ 0 w 104"/>
                <a:gd name="T5" fmla="*/ 11 h 126"/>
                <a:gd name="T6" fmla="*/ 35 w 104"/>
                <a:gd name="T7" fmla="*/ 0 h 126"/>
                <a:gd name="T8" fmla="*/ 104 w 104"/>
                <a:gd name="T9" fmla="*/ 10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26">
                  <a:moveTo>
                    <a:pt x="104" y="103"/>
                  </a:moveTo>
                  <a:lnTo>
                    <a:pt x="69" y="126"/>
                  </a:lnTo>
                  <a:lnTo>
                    <a:pt x="0" y="11"/>
                  </a:lnTo>
                  <a:lnTo>
                    <a:pt x="35" y="0"/>
                  </a:lnTo>
                  <a:lnTo>
                    <a:pt x="104" y="103"/>
                  </a:lnTo>
                  <a:close/>
                </a:path>
              </a:pathLst>
            </a:custGeom>
            <a:solidFill>
              <a:srgbClr val="424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26" name="Freeform 240"/>
            <p:cNvSpPr>
              <a:spLocks/>
            </p:cNvSpPr>
            <p:nvPr/>
          </p:nvSpPr>
          <p:spPr bwMode="auto">
            <a:xfrm>
              <a:off x="9982201" y="4675188"/>
              <a:ext cx="165100" cy="201613"/>
            </a:xfrm>
            <a:custGeom>
              <a:avLst/>
              <a:gdLst>
                <a:gd name="T0" fmla="*/ 104 w 104"/>
                <a:gd name="T1" fmla="*/ 116 h 127"/>
                <a:gd name="T2" fmla="*/ 69 w 104"/>
                <a:gd name="T3" fmla="*/ 127 h 127"/>
                <a:gd name="T4" fmla="*/ 0 w 104"/>
                <a:gd name="T5" fmla="*/ 23 h 127"/>
                <a:gd name="T6" fmla="*/ 35 w 104"/>
                <a:gd name="T7" fmla="*/ 0 h 127"/>
                <a:gd name="T8" fmla="*/ 104 w 104"/>
                <a:gd name="T9" fmla="*/ 116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27">
                  <a:moveTo>
                    <a:pt x="104" y="116"/>
                  </a:moveTo>
                  <a:lnTo>
                    <a:pt x="69" y="127"/>
                  </a:lnTo>
                  <a:lnTo>
                    <a:pt x="0" y="23"/>
                  </a:lnTo>
                  <a:lnTo>
                    <a:pt x="35" y="0"/>
                  </a:lnTo>
                  <a:lnTo>
                    <a:pt x="104" y="116"/>
                  </a:lnTo>
                  <a:close/>
                </a:path>
              </a:pathLst>
            </a:custGeom>
            <a:solidFill>
              <a:srgbClr val="424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27" name="Freeform 241"/>
            <p:cNvSpPr>
              <a:spLocks/>
            </p:cNvSpPr>
            <p:nvPr/>
          </p:nvSpPr>
          <p:spPr bwMode="auto">
            <a:xfrm>
              <a:off x="10037763" y="4621213"/>
              <a:ext cx="219075" cy="219075"/>
            </a:xfrm>
            <a:custGeom>
              <a:avLst/>
              <a:gdLst>
                <a:gd name="T0" fmla="*/ 11 w 12"/>
                <a:gd name="T1" fmla="*/ 6 h 12"/>
                <a:gd name="T2" fmla="*/ 12 w 12"/>
                <a:gd name="T3" fmla="*/ 7 h 12"/>
                <a:gd name="T4" fmla="*/ 11 w 12"/>
                <a:gd name="T5" fmla="*/ 8 h 12"/>
                <a:gd name="T6" fmla="*/ 5 w 12"/>
                <a:gd name="T7" fmla="*/ 12 h 12"/>
                <a:gd name="T8" fmla="*/ 0 w 12"/>
                <a:gd name="T9" fmla="*/ 4 h 12"/>
                <a:gd name="T10" fmla="*/ 6 w 12"/>
                <a:gd name="T11" fmla="*/ 0 h 12"/>
                <a:gd name="T12" fmla="*/ 7 w 12"/>
                <a:gd name="T13" fmla="*/ 0 h 12"/>
                <a:gd name="T14" fmla="*/ 8 w 12"/>
                <a:gd name="T15" fmla="*/ 1 h 12"/>
                <a:gd name="T16" fmla="*/ 11 w 12"/>
                <a:gd name="T1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11" y="6"/>
                  </a:moveTo>
                  <a:cubicBezTo>
                    <a:pt x="12" y="6"/>
                    <a:pt x="12" y="7"/>
                    <a:pt x="12" y="7"/>
                  </a:cubicBezTo>
                  <a:cubicBezTo>
                    <a:pt x="11" y="7"/>
                    <a:pt x="11" y="8"/>
                    <a:pt x="11" y="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1"/>
                    <a:pt x="8" y="1"/>
                  </a:cubicBezTo>
                  <a:lnTo>
                    <a:pt x="11" y="6"/>
                  </a:lnTo>
                  <a:close/>
                </a:path>
              </a:pathLst>
            </a:custGeom>
            <a:solidFill>
              <a:srgbClr val="4A4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28" name="Freeform 242"/>
            <p:cNvSpPr>
              <a:spLocks/>
            </p:cNvSpPr>
            <p:nvPr/>
          </p:nvSpPr>
          <p:spPr bwMode="auto">
            <a:xfrm>
              <a:off x="8224838" y="5535613"/>
              <a:ext cx="347663" cy="238125"/>
            </a:xfrm>
            <a:custGeom>
              <a:avLst/>
              <a:gdLst>
                <a:gd name="T0" fmla="*/ 16 w 19"/>
                <a:gd name="T1" fmla="*/ 2 h 13"/>
                <a:gd name="T2" fmla="*/ 9 w 19"/>
                <a:gd name="T3" fmla="*/ 7 h 13"/>
                <a:gd name="T4" fmla="*/ 2 w 19"/>
                <a:gd name="T5" fmla="*/ 10 h 13"/>
                <a:gd name="T6" fmla="*/ 2 w 19"/>
                <a:gd name="T7" fmla="*/ 13 h 13"/>
                <a:gd name="T8" fmla="*/ 10 w 19"/>
                <a:gd name="T9" fmla="*/ 8 h 13"/>
                <a:gd name="T10" fmla="*/ 19 w 19"/>
                <a:gd name="T11" fmla="*/ 3 h 13"/>
                <a:gd name="T12" fmla="*/ 16 w 19"/>
                <a:gd name="T1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3">
                  <a:moveTo>
                    <a:pt x="16" y="2"/>
                  </a:moveTo>
                  <a:cubicBezTo>
                    <a:pt x="14" y="3"/>
                    <a:pt x="12" y="5"/>
                    <a:pt x="9" y="7"/>
                  </a:cubicBezTo>
                  <a:cubicBezTo>
                    <a:pt x="7" y="8"/>
                    <a:pt x="4" y="9"/>
                    <a:pt x="2" y="10"/>
                  </a:cubicBezTo>
                  <a:cubicBezTo>
                    <a:pt x="0" y="11"/>
                    <a:pt x="2" y="13"/>
                    <a:pt x="2" y="13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8" y="0"/>
                    <a:pt x="16" y="2"/>
                  </a:cubicBezTo>
                  <a:close/>
                </a:path>
              </a:pathLst>
            </a:custGeom>
            <a:solidFill>
              <a:srgbClr val="4A4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29" name="Freeform 243"/>
            <p:cNvSpPr>
              <a:spLocks/>
            </p:cNvSpPr>
            <p:nvPr/>
          </p:nvSpPr>
          <p:spPr bwMode="auto">
            <a:xfrm>
              <a:off x="8883651" y="4949825"/>
              <a:ext cx="1208088" cy="1995488"/>
            </a:xfrm>
            <a:custGeom>
              <a:avLst/>
              <a:gdLst>
                <a:gd name="T0" fmla="*/ 42 w 66"/>
                <a:gd name="T1" fmla="*/ 109 h 109"/>
                <a:gd name="T2" fmla="*/ 32 w 66"/>
                <a:gd name="T3" fmla="*/ 89 h 109"/>
                <a:gd name="T4" fmla="*/ 5 w 66"/>
                <a:gd name="T5" fmla="*/ 39 h 109"/>
                <a:gd name="T6" fmla="*/ 1 w 66"/>
                <a:gd name="T7" fmla="*/ 15 h 109"/>
                <a:gd name="T8" fmla="*/ 7 w 66"/>
                <a:gd name="T9" fmla="*/ 0 h 109"/>
                <a:gd name="T10" fmla="*/ 14 w 66"/>
                <a:gd name="T11" fmla="*/ 20 h 109"/>
                <a:gd name="T12" fmla="*/ 19 w 66"/>
                <a:gd name="T13" fmla="*/ 37 h 109"/>
                <a:gd name="T14" fmla="*/ 33 w 66"/>
                <a:gd name="T15" fmla="*/ 28 h 109"/>
                <a:gd name="T16" fmla="*/ 26 w 66"/>
                <a:gd name="T17" fmla="*/ 7 h 109"/>
                <a:gd name="T18" fmla="*/ 36 w 66"/>
                <a:gd name="T19" fmla="*/ 1 h 109"/>
                <a:gd name="T20" fmla="*/ 54 w 66"/>
                <a:gd name="T21" fmla="*/ 33 h 109"/>
                <a:gd name="T22" fmla="*/ 57 w 66"/>
                <a:gd name="T23" fmla="*/ 74 h 109"/>
                <a:gd name="T24" fmla="*/ 66 w 66"/>
                <a:gd name="T25" fmla="*/ 103 h 109"/>
                <a:gd name="T26" fmla="*/ 42 w 66"/>
                <a:gd name="T27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" h="109">
                  <a:moveTo>
                    <a:pt x="42" y="109"/>
                  </a:moveTo>
                  <a:cubicBezTo>
                    <a:pt x="42" y="109"/>
                    <a:pt x="40" y="96"/>
                    <a:pt x="32" y="89"/>
                  </a:cubicBezTo>
                  <a:cubicBezTo>
                    <a:pt x="25" y="81"/>
                    <a:pt x="5" y="53"/>
                    <a:pt x="5" y="39"/>
                  </a:cubicBezTo>
                  <a:cubicBezTo>
                    <a:pt x="5" y="24"/>
                    <a:pt x="0" y="21"/>
                    <a:pt x="1" y="15"/>
                  </a:cubicBezTo>
                  <a:cubicBezTo>
                    <a:pt x="2" y="9"/>
                    <a:pt x="1" y="0"/>
                    <a:pt x="7" y="0"/>
                  </a:cubicBezTo>
                  <a:cubicBezTo>
                    <a:pt x="12" y="0"/>
                    <a:pt x="15" y="15"/>
                    <a:pt x="14" y="20"/>
                  </a:cubicBezTo>
                  <a:cubicBezTo>
                    <a:pt x="13" y="25"/>
                    <a:pt x="15" y="34"/>
                    <a:pt x="19" y="37"/>
                  </a:cubicBezTo>
                  <a:cubicBezTo>
                    <a:pt x="23" y="40"/>
                    <a:pt x="35" y="40"/>
                    <a:pt x="33" y="28"/>
                  </a:cubicBezTo>
                  <a:cubicBezTo>
                    <a:pt x="32" y="15"/>
                    <a:pt x="26" y="7"/>
                    <a:pt x="26" y="7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54" y="22"/>
                    <a:pt x="54" y="33"/>
                  </a:cubicBezTo>
                  <a:cubicBezTo>
                    <a:pt x="54" y="44"/>
                    <a:pt x="55" y="68"/>
                    <a:pt x="57" y="74"/>
                  </a:cubicBezTo>
                  <a:cubicBezTo>
                    <a:pt x="59" y="80"/>
                    <a:pt x="66" y="103"/>
                    <a:pt x="66" y="103"/>
                  </a:cubicBezTo>
                  <a:cubicBezTo>
                    <a:pt x="42" y="109"/>
                    <a:pt x="42" y="109"/>
                    <a:pt x="42" y="109"/>
                  </a:cubicBezTo>
                </a:path>
              </a:pathLst>
            </a:custGeom>
            <a:solidFill>
              <a:srgbClr val="DCAD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30" name="Freeform 244"/>
            <p:cNvSpPr>
              <a:spLocks/>
            </p:cNvSpPr>
            <p:nvPr/>
          </p:nvSpPr>
          <p:spPr bwMode="auto">
            <a:xfrm>
              <a:off x="8902701" y="4968875"/>
              <a:ext cx="201613" cy="182563"/>
            </a:xfrm>
            <a:custGeom>
              <a:avLst/>
              <a:gdLst>
                <a:gd name="T0" fmla="*/ 2 w 11"/>
                <a:gd name="T1" fmla="*/ 10 h 10"/>
                <a:gd name="T2" fmla="*/ 3 w 11"/>
                <a:gd name="T3" fmla="*/ 2 h 10"/>
                <a:gd name="T4" fmla="*/ 10 w 11"/>
                <a:gd name="T5" fmla="*/ 9 h 10"/>
                <a:gd name="T6" fmla="*/ 2 w 11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0">
                  <a:moveTo>
                    <a:pt x="2" y="10"/>
                  </a:moveTo>
                  <a:cubicBezTo>
                    <a:pt x="2" y="10"/>
                    <a:pt x="0" y="4"/>
                    <a:pt x="3" y="2"/>
                  </a:cubicBezTo>
                  <a:cubicBezTo>
                    <a:pt x="6" y="0"/>
                    <a:pt x="11" y="1"/>
                    <a:pt x="10" y="9"/>
                  </a:cubicBezTo>
                  <a:cubicBezTo>
                    <a:pt x="10" y="9"/>
                    <a:pt x="7" y="8"/>
                    <a:pt x="2" y="10"/>
                  </a:cubicBezTo>
                  <a:close/>
                </a:path>
              </a:pathLst>
            </a:custGeom>
            <a:solidFill>
              <a:srgbClr val="EFC9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31" name="Freeform 245"/>
            <p:cNvSpPr>
              <a:spLocks/>
            </p:cNvSpPr>
            <p:nvPr/>
          </p:nvSpPr>
          <p:spPr bwMode="auto">
            <a:xfrm>
              <a:off x="9213851" y="5260975"/>
              <a:ext cx="384175" cy="476250"/>
            </a:xfrm>
            <a:custGeom>
              <a:avLst/>
              <a:gdLst>
                <a:gd name="T0" fmla="*/ 13 w 21"/>
                <a:gd name="T1" fmla="*/ 0 h 26"/>
                <a:gd name="T2" fmla="*/ 15 w 21"/>
                <a:gd name="T3" fmla="*/ 11 h 26"/>
                <a:gd name="T4" fmla="*/ 15 w 21"/>
                <a:gd name="T5" fmla="*/ 13 h 26"/>
                <a:gd name="T6" fmla="*/ 6 w 21"/>
                <a:gd name="T7" fmla="*/ 22 h 26"/>
                <a:gd name="T8" fmla="*/ 3 w 21"/>
                <a:gd name="T9" fmla="*/ 21 h 26"/>
                <a:gd name="T10" fmla="*/ 2 w 21"/>
                <a:gd name="T11" fmla="*/ 21 h 26"/>
                <a:gd name="T12" fmla="*/ 1 w 21"/>
                <a:gd name="T13" fmla="*/ 20 h 26"/>
                <a:gd name="T14" fmla="*/ 0 w 21"/>
                <a:gd name="T15" fmla="*/ 20 h 26"/>
                <a:gd name="T16" fmla="*/ 10 w 21"/>
                <a:gd name="T17" fmla="*/ 26 h 26"/>
                <a:gd name="T18" fmla="*/ 13 w 21"/>
                <a:gd name="T19" fmla="*/ 26 h 26"/>
                <a:gd name="T20" fmla="*/ 13 w 21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26">
                  <a:moveTo>
                    <a:pt x="13" y="0"/>
                  </a:moveTo>
                  <a:cubicBezTo>
                    <a:pt x="14" y="3"/>
                    <a:pt x="15" y="7"/>
                    <a:pt x="15" y="11"/>
                  </a:cubicBezTo>
                  <a:cubicBezTo>
                    <a:pt x="15" y="11"/>
                    <a:pt x="15" y="12"/>
                    <a:pt x="15" y="13"/>
                  </a:cubicBezTo>
                  <a:cubicBezTo>
                    <a:pt x="15" y="19"/>
                    <a:pt x="10" y="22"/>
                    <a:pt x="6" y="22"/>
                  </a:cubicBezTo>
                  <a:cubicBezTo>
                    <a:pt x="5" y="22"/>
                    <a:pt x="4" y="22"/>
                    <a:pt x="3" y="21"/>
                  </a:cubicBezTo>
                  <a:cubicBezTo>
                    <a:pt x="3" y="21"/>
                    <a:pt x="3" y="21"/>
                    <a:pt x="2" y="21"/>
                  </a:cubicBezTo>
                  <a:cubicBezTo>
                    <a:pt x="2" y="21"/>
                    <a:pt x="1" y="21"/>
                    <a:pt x="1" y="20"/>
                  </a:cubicBezTo>
                  <a:cubicBezTo>
                    <a:pt x="1" y="20"/>
                    <a:pt x="0" y="20"/>
                    <a:pt x="0" y="20"/>
                  </a:cubicBezTo>
                  <a:cubicBezTo>
                    <a:pt x="2" y="22"/>
                    <a:pt x="5" y="25"/>
                    <a:pt x="10" y="26"/>
                  </a:cubicBezTo>
                  <a:cubicBezTo>
                    <a:pt x="11" y="26"/>
                    <a:pt x="12" y="26"/>
                    <a:pt x="13" y="26"/>
                  </a:cubicBezTo>
                  <a:cubicBezTo>
                    <a:pt x="21" y="26"/>
                    <a:pt x="19" y="10"/>
                    <a:pt x="13" y="0"/>
                  </a:cubicBezTo>
                </a:path>
              </a:pathLst>
            </a:custGeom>
            <a:solidFill>
              <a:srgbClr val="AE8A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  <p:sp>
          <p:nvSpPr>
            <p:cNvPr id="332" name="Freeform 246"/>
            <p:cNvSpPr>
              <a:spLocks/>
            </p:cNvSpPr>
            <p:nvPr/>
          </p:nvSpPr>
          <p:spPr bwMode="auto">
            <a:xfrm>
              <a:off x="9451976" y="6432550"/>
              <a:ext cx="933450" cy="1025525"/>
            </a:xfrm>
            <a:custGeom>
              <a:avLst/>
              <a:gdLst>
                <a:gd name="T0" fmla="*/ 0 w 588"/>
                <a:gd name="T1" fmla="*/ 185 h 646"/>
                <a:gd name="T2" fmla="*/ 0 w 588"/>
                <a:gd name="T3" fmla="*/ 646 h 646"/>
                <a:gd name="T4" fmla="*/ 588 w 588"/>
                <a:gd name="T5" fmla="*/ 346 h 646"/>
                <a:gd name="T6" fmla="*/ 380 w 588"/>
                <a:gd name="T7" fmla="*/ 0 h 646"/>
                <a:gd name="T8" fmla="*/ 0 w 588"/>
                <a:gd name="T9" fmla="*/ 185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8" h="646">
                  <a:moveTo>
                    <a:pt x="0" y="185"/>
                  </a:moveTo>
                  <a:lnTo>
                    <a:pt x="0" y="646"/>
                  </a:lnTo>
                  <a:lnTo>
                    <a:pt x="588" y="346"/>
                  </a:lnTo>
                  <a:lnTo>
                    <a:pt x="380" y="0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E8E9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2173204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th-TH" sz="6700">
                <a:solidFill>
                  <a:prstClr val="black"/>
                </a:solidFill>
                <a:latin typeface="Calibri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" name="ZoneTexte 1"/>
          <p:cNvSpPr txBox="1"/>
          <p:nvPr/>
        </p:nvSpPr>
        <p:spPr>
          <a:xfrm>
            <a:off x="4367459" y="2000959"/>
            <a:ext cx="3837904" cy="1231106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0"/>
              </a:spcBef>
            </a:pPr>
            <a:r>
              <a:rPr lang="en-US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La pratique du développement de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l'équipe</a:t>
            </a:r>
            <a:r>
              <a:rPr lang="en-US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 </a:t>
            </a:r>
            <a:r>
              <a:rPr lang="en-US" sz="2000" dirty="0" smtClean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et </a:t>
            </a:r>
            <a:r>
              <a:rPr lang="en-US" sz="2000" dirty="0">
                <a:solidFill>
                  <a:srgbClr val="17375E"/>
                </a:solidFill>
                <a:latin typeface="Gill Sans" panose="020B0604020202020204"/>
                <a:ea typeface="ＭＳ Ｐゴシック" panose="020B0600070205080204" pitchFamily="34" charset="-128"/>
              </a:rPr>
              <a:t>ce qui pourrait être fait dans différentes situations en examinant différents scénarios</a:t>
            </a:r>
            <a:endParaRPr lang="fr-FR" sz="2000" dirty="0">
              <a:solidFill>
                <a:srgbClr val="17375E"/>
              </a:solidFill>
              <a:latin typeface="Gill Sans" panose="020B0604020202020204"/>
              <a:ea typeface="ＭＳ Ｐゴシック" panose="020B0600070205080204" pitchFamily="34" charset="-128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4367459" y="3730159"/>
            <a:ext cx="3434999" cy="923330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0"/>
              </a:spcBef>
            </a:pPr>
            <a:r>
              <a:rPr lang="en-US" sz="2000" dirty="0" smtClean="0">
                <a:solidFill>
                  <a:srgbClr val="17375E"/>
                </a:solidFill>
                <a:latin typeface="Gill Sans" panose="020B0604020202020204"/>
              </a:rPr>
              <a:t>40 </a:t>
            </a:r>
            <a:r>
              <a:rPr lang="en-US" sz="2000" dirty="0">
                <a:solidFill>
                  <a:srgbClr val="17375E"/>
                </a:solidFill>
                <a:latin typeface="Gill Sans" panose="020B0604020202020204"/>
              </a:rPr>
              <a:t>minutes pour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/>
              </a:rPr>
              <a:t>discuter</a:t>
            </a:r>
            <a:r>
              <a:rPr lang="en-US" sz="2000" dirty="0">
                <a:solidFill>
                  <a:srgbClr val="17375E"/>
                </a:solidFill>
                <a:latin typeface="Gill Sans" panose="020B0604020202020204"/>
              </a:rPr>
              <a:t> </a:t>
            </a:r>
            <a:r>
              <a:rPr lang="en-US" sz="2000" dirty="0" smtClean="0">
                <a:solidFill>
                  <a:srgbClr val="17375E"/>
                </a:solidFill>
                <a:latin typeface="Gill Sans" panose="020B0604020202020204"/>
              </a:rPr>
              <a:t>et </a:t>
            </a:r>
            <a:r>
              <a:rPr lang="en-US" sz="2000" dirty="0" err="1" smtClean="0">
                <a:solidFill>
                  <a:srgbClr val="17375E"/>
                </a:solidFill>
                <a:latin typeface="Gill Sans" panose="020B0604020202020204"/>
              </a:rPr>
              <a:t>formuler</a:t>
            </a:r>
            <a:r>
              <a:rPr lang="en-US" sz="2000" dirty="0" smtClean="0">
                <a:solidFill>
                  <a:srgbClr val="17375E"/>
                </a:solidFill>
                <a:latin typeface="Gill Sans" panose="020B0604020202020204"/>
              </a:rPr>
              <a:t> </a:t>
            </a:r>
            <a:r>
              <a:rPr lang="en-US" sz="2000" dirty="0">
                <a:solidFill>
                  <a:srgbClr val="17375E"/>
                </a:solidFill>
                <a:latin typeface="Gill Sans" panose="020B0604020202020204"/>
              </a:rPr>
              <a:t>des recommandations à </a:t>
            </a:r>
            <a:r>
              <a:rPr lang="en-US" sz="2000" dirty="0" smtClean="0">
                <a:solidFill>
                  <a:srgbClr val="17375E"/>
                </a:solidFill>
                <a:latin typeface="Gill Sans" panose="020B0604020202020204"/>
              </a:rPr>
              <a:t>faire.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247994" y="887313"/>
            <a:ext cx="4582757" cy="615553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0"/>
              </a:spcBef>
            </a:pPr>
            <a:r>
              <a:rPr lang="en-US" sz="2000" dirty="0">
                <a:solidFill>
                  <a:srgbClr val="17375E"/>
                </a:solidFill>
                <a:latin typeface="Gill Sans" panose="020B0604020202020204"/>
              </a:rPr>
              <a:t>Q</a:t>
            </a:r>
            <a:r>
              <a:rPr lang="en-US" sz="2000" dirty="0" smtClean="0">
                <a:solidFill>
                  <a:srgbClr val="17375E"/>
                </a:solidFill>
                <a:latin typeface="Gill Sans" panose="020B0604020202020204"/>
              </a:rPr>
              <a:t>uatre études de cas de développement d'équipe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793ACA57-8C05-47ED-8D75-D575CE8E446A}" type="slidenum">
              <a:rPr lang="fr-FR" sz="1200" smtClean="0">
                <a:latin typeface="Gill Sans" panose="020B0604020202020204"/>
              </a:rPr>
              <a:pPr algn="ctr"/>
              <a:t>7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39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02242" y="3120678"/>
            <a:ext cx="8539517" cy="6166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  <a:effectLst/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Les différences dans les membres de l'équipe</a:t>
            </a:r>
            <a:endParaRPr lang="fr-FR" sz="4000" dirty="0">
              <a:solidFill>
                <a:schemeClr val="accent1">
                  <a:lumMod val="50000"/>
                </a:schemeClr>
              </a:solidFill>
              <a:effectLst/>
              <a:latin typeface="Gill Sans" panose="020B0604020202020204"/>
              <a:ea typeface="Calibri" panose="020F0502020204030204" pitchFamily="34" charset="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D9DAF811-373A-4B1D-8EED-89B5029455FC}" type="slidenum">
              <a:rPr lang="fr-FR" sz="1200" smtClean="0">
                <a:latin typeface="Gill Sans" panose="020B0604020202020204"/>
              </a:rPr>
              <a:pPr algn="ctr"/>
              <a:t>8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18865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 9"/>
          <p:cNvSpPr>
            <a:spLocks noEditPoints="1"/>
          </p:cNvSpPr>
          <p:nvPr/>
        </p:nvSpPr>
        <p:spPr bwMode="auto">
          <a:xfrm>
            <a:off x="3884282" y="2110312"/>
            <a:ext cx="1224568" cy="1042826"/>
          </a:xfrm>
          <a:custGeom>
            <a:avLst/>
            <a:gdLst>
              <a:gd name="T0" fmla="*/ 1428 w 3086"/>
              <a:gd name="T1" fmla="*/ 1365 h 2627"/>
              <a:gd name="T2" fmla="*/ 1322 w 3086"/>
              <a:gd name="T3" fmla="*/ 1293 h 2627"/>
              <a:gd name="T4" fmla="*/ 1160 w 3086"/>
              <a:gd name="T5" fmla="*/ 1209 h 2627"/>
              <a:gd name="T6" fmla="*/ 939 w 3086"/>
              <a:gd name="T7" fmla="*/ 767 h 2627"/>
              <a:gd name="T8" fmla="*/ 454 w 3086"/>
              <a:gd name="T9" fmla="*/ 736 h 2627"/>
              <a:gd name="T10" fmla="*/ 236 w 3086"/>
              <a:gd name="T11" fmla="*/ 961 h 2627"/>
              <a:gd name="T12" fmla="*/ 4 w 3086"/>
              <a:gd name="T13" fmla="*/ 1552 h 2627"/>
              <a:gd name="T14" fmla="*/ 64 w 3086"/>
              <a:gd name="T15" fmla="*/ 1686 h 2627"/>
              <a:gd name="T16" fmla="*/ 164 w 3086"/>
              <a:gd name="T17" fmla="*/ 1678 h 2627"/>
              <a:gd name="T18" fmla="*/ 306 w 3086"/>
              <a:gd name="T19" fmla="*/ 1305 h 2627"/>
              <a:gd name="T20" fmla="*/ 325 w 3086"/>
              <a:gd name="T21" fmla="*/ 1629 h 2627"/>
              <a:gd name="T22" fmla="*/ 350 w 3086"/>
              <a:gd name="T23" fmla="*/ 2484 h 2627"/>
              <a:gd name="T24" fmla="*/ 440 w 3086"/>
              <a:gd name="T25" fmla="*/ 2622 h 2627"/>
              <a:gd name="T26" fmla="*/ 603 w 3086"/>
              <a:gd name="T27" fmla="*/ 2550 h 2627"/>
              <a:gd name="T28" fmla="*/ 618 w 3086"/>
              <a:gd name="T29" fmla="*/ 1716 h 2627"/>
              <a:gd name="T30" fmla="*/ 663 w 3086"/>
              <a:gd name="T31" fmla="*/ 2484 h 2627"/>
              <a:gd name="T32" fmla="*/ 753 w 3086"/>
              <a:gd name="T33" fmla="*/ 2622 h 2627"/>
              <a:gd name="T34" fmla="*/ 916 w 3086"/>
              <a:gd name="T35" fmla="*/ 2550 h 2627"/>
              <a:gd name="T36" fmla="*/ 927 w 3086"/>
              <a:gd name="T37" fmla="*/ 1706 h 2627"/>
              <a:gd name="T38" fmla="*/ 951 w 3086"/>
              <a:gd name="T39" fmla="*/ 1353 h 2627"/>
              <a:gd name="T40" fmla="*/ 1006 w 3086"/>
              <a:gd name="T41" fmla="*/ 1359 h 2627"/>
              <a:gd name="T42" fmla="*/ 1309 w 3086"/>
              <a:gd name="T43" fmla="*/ 1483 h 2627"/>
              <a:gd name="T44" fmla="*/ 1796 w 3086"/>
              <a:gd name="T45" fmla="*/ 1406 h 2627"/>
              <a:gd name="T46" fmla="*/ 2890 w 3086"/>
              <a:gd name="T47" fmla="*/ 689 h 2627"/>
              <a:gd name="T48" fmla="*/ 2330 w 3086"/>
              <a:gd name="T49" fmla="*/ 857 h 2627"/>
              <a:gd name="T50" fmla="*/ 2095 w 3086"/>
              <a:gd name="T51" fmla="*/ 931 h 2627"/>
              <a:gd name="T52" fmla="*/ 1762 w 3086"/>
              <a:gd name="T53" fmla="*/ 1093 h 2627"/>
              <a:gd name="T54" fmla="*/ 1741 w 3086"/>
              <a:gd name="T55" fmla="*/ 1172 h 2627"/>
              <a:gd name="T56" fmla="*/ 2011 w 3086"/>
              <a:gd name="T57" fmla="*/ 1171 h 2627"/>
              <a:gd name="T58" fmla="*/ 2451 w 3086"/>
              <a:gd name="T59" fmla="*/ 1006 h 2627"/>
              <a:gd name="T60" fmla="*/ 2850 w 3086"/>
              <a:gd name="T61" fmla="*/ 733 h 2627"/>
              <a:gd name="T62" fmla="*/ 2439 w 3086"/>
              <a:gd name="T63" fmla="*/ 241 h 2627"/>
              <a:gd name="T64" fmla="*/ 2204 w 3086"/>
              <a:gd name="T65" fmla="*/ 221 h 2627"/>
              <a:gd name="T66" fmla="*/ 2039 w 3086"/>
              <a:gd name="T67" fmla="*/ 241 h 2627"/>
              <a:gd name="T68" fmla="*/ 2294 w 3086"/>
              <a:gd name="T69" fmla="*/ 0 h 2627"/>
              <a:gd name="T70" fmla="*/ 2563 w 3086"/>
              <a:gd name="T71" fmla="*/ 241 h 2627"/>
              <a:gd name="T72" fmla="*/ 3086 w 3086"/>
              <a:gd name="T73" fmla="*/ 467 h 2627"/>
              <a:gd name="T74" fmla="*/ 2035 w 3086"/>
              <a:gd name="T75" fmla="*/ 408 h 2627"/>
              <a:gd name="T76" fmla="*/ 1518 w 3086"/>
              <a:gd name="T77" fmla="*/ 425 h 2627"/>
              <a:gd name="T78" fmla="*/ 1553 w 3086"/>
              <a:gd name="T79" fmla="*/ 565 h 2627"/>
              <a:gd name="T80" fmla="*/ 1631 w 3086"/>
              <a:gd name="T81" fmla="*/ 723 h 2627"/>
              <a:gd name="T82" fmla="*/ 2824 w 3086"/>
              <a:gd name="T83" fmla="*/ 565 h 2627"/>
              <a:gd name="T84" fmla="*/ 2957 w 3086"/>
              <a:gd name="T85" fmla="*/ 1334 h 2627"/>
              <a:gd name="T86" fmla="*/ 2931 w 3086"/>
              <a:gd name="T87" fmla="*/ 1525 h 2627"/>
              <a:gd name="T88" fmla="*/ 1813 w 3086"/>
              <a:gd name="T89" fmla="*/ 1525 h 2627"/>
              <a:gd name="T90" fmla="*/ 1503 w 3086"/>
              <a:gd name="T91" fmla="*/ 1631 h 2627"/>
              <a:gd name="T92" fmla="*/ 2042 w 3086"/>
              <a:gd name="T93" fmla="*/ 1682 h 2627"/>
              <a:gd name="T94" fmla="*/ 3040 w 3086"/>
              <a:gd name="T95" fmla="*/ 1681 h 2627"/>
              <a:gd name="T96" fmla="*/ 3086 w 3086"/>
              <a:gd name="T97" fmla="*/ 1578 h 2627"/>
              <a:gd name="T98" fmla="*/ 3035 w 3086"/>
              <a:gd name="T99" fmla="*/ 970 h 2627"/>
              <a:gd name="T100" fmla="*/ 708 w 3086"/>
              <a:gd name="T101" fmla="*/ 1323 h 2627"/>
              <a:gd name="T102" fmla="*/ 547 w 3086"/>
              <a:gd name="T103" fmla="*/ 1011 h 2627"/>
              <a:gd name="T104" fmla="*/ 570 w 3086"/>
              <a:gd name="T105" fmla="*/ 868 h 2627"/>
              <a:gd name="T106" fmla="*/ 756 w 3086"/>
              <a:gd name="T107" fmla="*/ 1145 h 2627"/>
              <a:gd name="T108" fmla="*/ 366 w 3086"/>
              <a:gd name="T109" fmla="*/ 349 h 2627"/>
              <a:gd name="T110" fmla="*/ 452 w 3086"/>
              <a:gd name="T111" fmla="*/ 154 h 2627"/>
              <a:gd name="T112" fmla="*/ 647 w 3086"/>
              <a:gd name="T113" fmla="*/ 67 h 2627"/>
              <a:gd name="T114" fmla="*/ 853 w 3086"/>
              <a:gd name="T115" fmla="*/ 134 h 2627"/>
              <a:gd name="T116" fmla="*/ 957 w 3086"/>
              <a:gd name="T117" fmla="*/ 319 h 2627"/>
              <a:gd name="T118" fmla="*/ 910 w 3086"/>
              <a:gd name="T119" fmla="*/ 531 h 2627"/>
              <a:gd name="T120" fmla="*/ 737 w 3086"/>
              <a:gd name="T121" fmla="*/ 653 h 2627"/>
              <a:gd name="T122" fmla="*/ 521 w 3086"/>
              <a:gd name="T123" fmla="*/ 627 h 2627"/>
              <a:gd name="T124" fmla="*/ 383 w 3086"/>
              <a:gd name="T125" fmla="*/ 467 h 2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86" h="2627">
                <a:moveTo>
                  <a:pt x="1970" y="1340"/>
                </a:moveTo>
                <a:lnTo>
                  <a:pt x="1960" y="1338"/>
                </a:lnTo>
                <a:lnTo>
                  <a:pt x="1954" y="1336"/>
                </a:lnTo>
                <a:lnTo>
                  <a:pt x="1948" y="1332"/>
                </a:lnTo>
                <a:lnTo>
                  <a:pt x="1943" y="1327"/>
                </a:lnTo>
                <a:lnTo>
                  <a:pt x="1938" y="1323"/>
                </a:lnTo>
                <a:lnTo>
                  <a:pt x="1932" y="1318"/>
                </a:lnTo>
                <a:lnTo>
                  <a:pt x="1926" y="1315"/>
                </a:lnTo>
                <a:lnTo>
                  <a:pt x="1917" y="1314"/>
                </a:lnTo>
                <a:lnTo>
                  <a:pt x="1753" y="1331"/>
                </a:lnTo>
                <a:lnTo>
                  <a:pt x="1630" y="1345"/>
                </a:lnTo>
                <a:lnTo>
                  <a:pt x="1542" y="1353"/>
                </a:lnTo>
                <a:lnTo>
                  <a:pt x="1483" y="1360"/>
                </a:lnTo>
                <a:lnTo>
                  <a:pt x="1448" y="1364"/>
                </a:lnTo>
                <a:lnTo>
                  <a:pt x="1428" y="1365"/>
                </a:lnTo>
                <a:lnTo>
                  <a:pt x="1422" y="1367"/>
                </a:lnTo>
                <a:lnTo>
                  <a:pt x="1421" y="1367"/>
                </a:lnTo>
                <a:lnTo>
                  <a:pt x="1412" y="1365"/>
                </a:lnTo>
                <a:lnTo>
                  <a:pt x="1405" y="1363"/>
                </a:lnTo>
                <a:lnTo>
                  <a:pt x="1400" y="1358"/>
                </a:lnTo>
                <a:lnTo>
                  <a:pt x="1394" y="1353"/>
                </a:lnTo>
                <a:lnTo>
                  <a:pt x="1389" y="1348"/>
                </a:lnTo>
                <a:lnTo>
                  <a:pt x="1384" y="1345"/>
                </a:lnTo>
                <a:lnTo>
                  <a:pt x="1377" y="1341"/>
                </a:lnTo>
                <a:lnTo>
                  <a:pt x="1369" y="1340"/>
                </a:lnTo>
                <a:lnTo>
                  <a:pt x="1369" y="1337"/>
                </a:lnTo>
                <a:lnTo>
                  <a:pt x="1369" y="1314"/>
                </a:lnTo>
                <a:lnTo>
                  <a:pt x="1354" y="1305"/>
                </a:lnTo>
                <a:lnTo>
                  <a:pt x="1338" y="1298"/>
                </a:lnTo>
                <a:lnTo>
                  <a:pt x="1322" y="1293"/>
                </a:lnTo>
                <a:lnTo>
                  <a:pt x="1307" y="1289"/>
                </a:lnTo>
                <a:lnTo>
                  <a:pt x="1275" y="1286"/>
                </a:lnTo>
                <a:lnTo>
                  <a:pt x="1245" y="1281"/>
                </a:lnTo>
                <a:lnTo>
                  <a:pt x="1230" y="1278"/>
                </a:lnTo>
                <a:lnTo>
                  <a:pt x="1217" y="1275"/>
                </a:lnTo>
                <a:lnTo>
                  <a:pt x="1204" y="1269"/>
                </a:lnTo>
                <a:lnTo>
                  <a:pt x="1193" y="1263"/>
                </a:lnTo>
                <a:lnTo>
                  <a:pt x="1187" y="1258"/>
                </a:lnTo>
                <a:lnTo>
                  <a:pt x="1182" y="1253"/>
                </a:lnTo>
                <a:lnTo>
                  <a:pt x="1177" y="1248"/>
                </a:lnTo>
                <a:lnTo>
                  <a:pt x="1173" y="1242"/>
                </a:lnTo>
                <a:lnTo>
                  <a:pt x="1170" y="1234"/>
                </a:lnTo>
                <a:lnTo>
                  <a:pt x="1166" y="1227"/>
                </a:lnTo>
                <a:lnTo>
                  <a:pt x="1162" y="1219"/>
                </a:lnTo>
                <a:lnTo>
                  <a:pt x="1160" y="1209"/>
                </a:lnTo>
                <a:lnTo>
                  <a:pt x="1131" y="1121"/>
                </a:lnTo>
                <a:lnTo>
                  <a:pt x="1100" y="1035"/>
                </a:lnTo>
                <a:lnTo>
                  <a:pt x="1083" y="995"/>
                </a:lnTo>
                <a:lnTo>
                  <a:pt x="1068" y="956"/>
                </a:lnTo>
                <a:lnTo>
                  <a:pt x="1051" y="918"/>
                </a:lnTo>
                <a:lnTo>
                  <a:pt x="1032" y="884"/>
                </a:lnTo>
                <a:lnTo>
                  <a:pt x="1023" y="868"/>
                </a:lnTo>
                <a:lnTo>
                  <a:pt x="1014" y="852"/>
                </a:lnTo>
                <a:lnTo>
                  <a:pt x="1004" y="837"/>
                </a:lnTo>
                <a:lnTo>
                  <a:pt x="993" y="824"/>
                </a:lnTo>
                <a:lnTo>
                  <a:pt x="984" y="810"/>
                </a:lnTo>
                <a:lnTo>
                  <a:pt x="973" y="798"/>
                </a:lnTo>
                <a:lnTo>
                  <a:pt x="962" y="787"/>
                </a:lnTo>
                <a:lnTo>
                  <a:pt x="951" y="777"/>
                </a:lnTo>
                <a:lnTo>
                  <a:pt x="939" y="767"/>
                </a:lnTo>
                <a:lnTo>
                  <a:pt x="927" y="759"/>
                </a:lnTo>
                <a:lnTo>
                  <a:pt x="915" y="753"/>
                </a:lnTo>
                <a:lnTo>
                  <a:pt x="901" y="747"/>
                </a:lnTo>
                <a:lnTo>
                  <a:pt x="889" y="742"/>
                </a:lnTo>
                <a:lnTo>
                  <a:pt x="875" y="739"/>
                </a:lnTo>
                <a:lnTo>
                  <a:pt x="861" y="737"/>
                </a:lnTo>
                <a:lnTo>
                  <a:pt x="847" y="736"/>
                </a:lnTo>
                <a:lnTo>
                  <a:pt x="717" y="736"/>
                </a:lnTo>
                <a:lnTo>
                  <a:pt x="620" y="736"/>
                </a:lnTo>
                <a:lnTo>
                  <a:pt x="550" y="736"/>
                </a:lnTo>
                <a:lnTo>
                  <a:pt x="504" y="736"/>
                </a:lnTo>
                <a:lnTo>
                  <a:pt x="475" y="736"/>
                </a:lnTo>
                <a:lnTo>
                  <a:pt x="461" y="736"/>
                </a:lnTo>
                <a:lnTo>
                  <a:pt x="456" y="736"/>
                </a:lnTo>
                <a:lnTo>
                  <a:pt x="454" y="736"/>
                </a:lnTo>
                <a:lnTo>
                  <a:pt x="440" y="737"/>
                </a:lnTo>
                <a:lnTo>
                  <a:pt x="427" y="739"/>
                </a:lnTo>
                <a:lnTo>
                  <a:pt x="412" y="744"/>
                </a:lnTo>
                <a:lnTo>
                  <a:pt x="399" y="750"/>
                </a:lnTo>
                <a:lnTo>
                  <a:pt x="385" y="758"/>
                </a:lnTo>
                <a:lnTo>
                  <a:pt x="372" y="766"/>
                </a:lnTo>
                <a:lnTo>
                  <a:pt x="360" y="777"/>
                </a:lnTo>
                <a:lnTo>
                  <a:pt x="346" y="788"/>
                </a:lnTo>
                <a:lnTo>
                  <a:pt x="334" y="802"/>
                </a:lnTo>
                <a:lnTo>
                  <a:pt x="322" y="815"/>
                </a:lnTo>
                <a:lnTo>
                  <a:pt x="311" y="831"/>
                </a:lnTo>
                <a:lnTo>
                  <a:pt x="299" y="847"/>
                </a:lnTo>
                <a:lnTo>
                  <a:pt x="277" y="882"/>
                </a:lnTo>
                <a:lnTo>
                  <a:pt x="255" y="920"/>
                </a:lnTo>
                <a:lnTo>
                  <a:pt x="236" y="961"/>
                </a:lnTo>
                <a:lnTo>
                  <a:pt x="217" y="1002"/>
                </a:lnTo>
                <a:lnTo>
                  <a:pt x="197" y="1046"/>
                </a:lnTo>
                <a:lnTo>
                  <a:pt x="180" y="1090"/>
                </a:lnTo>
                <a:lnTo>
                  <a:pt x="146" y="1178"/>
                </a:lnTo>
                <a:lnTo>
                  <a:pt x="116" y="1261"/>
                </a:lnTo>
                <a:lnTo>
                  <a:pt x="106" y="1299"/>
                </a:lnTo>
                <a:lnTo>
                  <a:pt x="95" y="1336"/>
                </a:lnTo>
                <a:lnTo>
                  <a:pt x="85" y="1370"/>
                </a:lnTo>
                <a:lnTo>
                  <a:pt x="73" y="1402"/>
                </a:lnTo>
                <a:lnTo>
                  <a:pt x="60" y="1434"/>
                </a:lnTo>
                <a:lnTo>
                  <a:pt x="45" y="1464"/>
                </a:lnTo>
                <a:lnTo>
                  <a:pt x="30" y="1495"/>
                </a:lnTo>
                <a:lnTo>
                  <a:pt x="11" y="1524"/>
                </a:lnTo>
                <a:lnTo>
                  <a:pt x="7" y="1539"/>
                </a:lnTo>
                <a:lnTo>
                  <a:pt x="4" y="1552"/>
                </a:lnTo>
                <a:lnTo>
                  <a:pt x="2" y="1566"/>
                </a:lnTo>
                <a:lnTo>
                  <a:pt x="0" y="1578"/>
                </a:lnTo>
                <a:lnTo>
                  <a:pt x="2" y="1590"/>
                </a:lnTo>
                <a:lnTo>
                  <a:pt x="3" y="1601"/>
                </a:lnTo>
                <a:lnTo>
                  <a:pt x="5" y="1612"/>
                </a:lnTo>
                <a:lnTo>
                  <a:pt x="8" y="1622"/>
                </a:lnTo>
                <a:lnTo>
                  <a:pt x="13" y="1632"/>
                </a:lnTo>
                <a:lnTo>
                  <a:pt x="17" y="1640"/>
                </a:lnTo>
                <a:lnTo>
                  <a:pt x="22" y="1649"/>
                </a:lnTo>
                <a:lnTo>
                  <a:pt x="30" y="1657"/>
                </a:lnTo>
                <a:lnTo>
                  <a:pt x="37" y="1664"/>
                </a:lnTo>
                <a:lnTo>
                  <a:pt x="45" y="1671"/>
                </a:lnTo>
                <a:lnTo>
                  <a:pt x="54" y="1676"/>
                </a:lnTo>
                <a:lnTo>
                  <a:pt x="64" y="1682"/>
                </a:lnTo>
                <a:lnTo>
                  <a:pt x="64" y="1686"/>
                </a:lnTo>
                <a:lnTo>
                  <a:pt x="65" y="1691"/>
                </a:lnTo>
                <a:lnTo>
                  <a:pt x="66" y="1694"/>
                </a:lnTo>
                <a:lnTo>
                  <a:pt x="68" y="1697"/>
                </a:lnTo>
                <a:lnTo>
                  <a:pt x="73" y="1702"/>
                </a:lnTo>
                <a:lnTo>
                  <a:pt x="79" y="1704"/>
                </a:lnTo>
                <a:lnTo>
                  <a:pt x="88" y="1706"/>
                </a:lnTo>
                <a:lnTo>
                  <a:pt x="96" y="1708"/>
                </a:lnTo>
                <a:lnTo>
                  <a:pt x="106" y="1708"/>
                </a:lnTo>
                <a:lnTo>
                  <a:pt x="116" y="1708"/>
                </a:lnTo>
                <a:lnTo>
                  <a:pt x="121" y="1708"/>
                </a:lnTo>
                <a:lnTo>
                  <a:pt x="127" y="1705"/>
                </a:lnTo>
                <a:lnTo>
                  <a:pt x="133" y="1703"/>
                </a:lnTo>
                <a:lnTo>
                  <a:pt x="139" y="1699"/>
                </a:lnTo>
                <a:lnTo>
                  <a:pt x="152" y="1689"/>
                </a:lnTo>
                <a:lnTo>
                  <a:pt x="164" y="1678"/>
                </a:lnTo>
                <a:lnTo>
                  <a:pt x="176" y="1666"/>
                </a:lnTo>
                <a:lnTo>
                  <a:pt x="185" y="1653"/>
                </a:lnTo>
                <a:lnTo>
                  <a:pt x="189" y="1646"/>
                </a:lnTo>
                <a:lnTo>
                  <a:pt x="191" y="1640"/>
                </a:lnTo>
                <a:lnTo>
                  <a:pt x="193" y="1634"/>
                </a:lnTo>
                <a:lnTo>
                  <a:pt x="193" y="1629"/>
                </a:lnTo>
                <a:lnTo>
                  <a:pt x="204" y="1598"/>
                </a:lnTo>
                <a:lnTo>
                  <a:pt x="218" y="1561"/>
                </a:lnTo>
                <a:lnTo>
                  <a:pt x="231" y="1522"/>
                </a:lnTo>
                <a:lnTo>
                  <a:pt x="246" y="1481"/>
                </a:lnTo>
                <a:lnTo>
                  <a:pt x="260" y="1439"/>
                </a:lnTo>
                <a:lnTo>
                  <a:pt x="275" y="1396"/>
                </a:lnTo>
                <a:lnTo>
                  <a:pt x="287" y="1354"/>
                </a:lnTo>
                <a:lnTo>
                  <a:pt x="298" y="1314"/>
                </a:lnTo>
                <a:lnTo>
                  <a:pt x="306" y="1305"/>
                </a:lnTo>
                <a:lnTo>
                  <a:pt x="314" y="1299"/>
                </a:lnTo>
                <a:lnTo>
                  <a:pt x="319" y="1296"/>
                </a:lnTo>
                <a:lnTo>
                  <a:pt x="321" y="1294"/>
                </a:lnTo>
                <a:lnTo>
                  <a:pt x="323" y="1296"/>
                </a:lnTo>
                <a:lnTo>
                  <a:pt x="325" y="1299"/>
                </a:lnTo>
                <a:lnTo>
                  <a:pt x="325" y="1305"/>
                </a:lnTo>
                <a:lnTo>
                  <a:pt x="325" y="1314"/>
                </a:lnTo>
                <a:lnTo>
                  <a:pt x="325" y="1418"/>
                </a:lnTo>
                <a:lnTo>
                  <a:pt x="325" y="1496"/>
                </a:lnTo>
                <a:lnTo>
                  <a:pt x="325" y="1552"/>
                </a:lnTo>
                <a:lnTo>
                  <a:pt x="325" y="1589"/>
                </a:lnTo>
                <a:lnTo>
                  <a:pt x="325" y="1612"/>
                </a:lnTo>
                <a:lnTo>
                  <a:pt x="325" y="1624"/>
                </a:lnTo>
                <a:lnTo>
                  <a:pt x="325" y="1628"/>
                </a:lnTo>
                <a:lnTo>
                  <a:pt x="325" y="1629"/>
                </a:lnTo>
                <a:lnTo>
                  <a:pt x="325" y="1655"/>
                </a:lnTo>
                <a:lnTo>
                  <a:pt x="326" y="1664"/>
                </a:lnTo>
                <a:lnTo>
                  <a:pt x="328" y="1671"/>
                </a:lnTo>
                <a:lnTo>
                  <a:pt x="333" y="1677"/>
                </a:lnTo>
                <a:lnTo>
                  <a:pt x="338" y="1682"/>
                </a:lnTo>
                <a:lnTo>
                  <a:pt x="343" y="1687"/>
                </a:lnTo>
                <a:lnTo>
                  <a:pt x="346" y="1692"/>
                </a:lnTo>
                <a:lnTo>
                  <a:pt x="349" y="1699"/>
                </a:lnTo>
                <a:lnTo>
                  <a:pt x="350" y="1708"/>
                </a:lnTo>
                <a:lnTo>
                  <a:pt x="350" y="1968"/>
                </a:lnTo>
                <a:lnTo>
                  <a:pt x="350" y="2164"/>
                </a:lnTo>
                <a:lnTo>
                  <a:pt x="350" y="2303"/>
                </a:lnTo>
                <a:lnTo>
                  <a:pt x="350" y="2397"/>
                </a:lnTo>
                <a:lnTo>
                  <a:pt x="350" y="2455"/>
                </a:lnTo>
                <a:lnTo>
                  <a:pt x="350" y="2484"/>
                </a:lnTo>
                <a:lnTo>
                  <a:pt x="350" y="2494"/>
                </a:lnTo>
                <a:lnTo>
                  <a:pt x="350" y="2496"/>
                </a:lnTo>
                <a:lnTo>
                  <a:pt x="351" y="2510"/>
                </a:lnTo>
                <a:lnTo>
                  <a:pt x="352" y="2524"/>
                </a:lnTo>
                <a:lnTo>
                  <a:pt x="356" y="2537"/>
                </a:lnTo>
                <a:lnTo>
                  <a:pt x="360" y="2550"/>
                </a:lnTo>
                <a:lnTo>
                  <a:pt x="365" y="2561"/>
                </a:lnTo>
                <a:lnTo>
                  <a:pt x="371" y="2572"/>
                </a:lnTo>
                <a:lnTo>
                  <a:pt x="378" y="2582"/>
                </a:lnTo>
                <a:lnTo>
                  <a:pt x="386" y="2590"/>
                </a:lnTo>
                <a:lnTo>
                  <a:pt x="395" y="2599"/>
                </a:lnTo>
                <a:lnTo>
                  <a:pt x="406" y="2606"/>
                </a:lnTo>
                <a:lnTo>
                  <a:pt x="416" y="2612"/>
                </a:lnTo>
                <a:lnTo>
                  <a:pt x="428" y="2617"/>
                </a:lnTo>
                <a:lnTo>
                  <a:pt x="440" y="2622"/>
                </a:lnTo>
                <a:lnTo>
                  <a:pt x="453" y="2625"/>
                </a:lnTo>
                <a:lnTo>
                  <a:pt x="467" y="2627"/>
                </a:lnTo>
                <a:lnTo>
                  <a:pt x="481" y="2627"/>
                </a:lnTo>
                <a:lnTo>
                  <a:pt x="496" y="2627"/>
                </a:lnTo>
                <a:lnTo>
                  <a:pt x="509" y="2625"/>
                </a:lnTo>
                <a:lnTo>
                  <a:pt x="522" y="2622"/>
                </a:lnTo>
                <a:lnTo>
                  <a:pt x="535" y="2617"/>
                </a:lnTo>
                <a:lnTo>
                  <a:pt x="546" y="2612"/>
                </a:lnTo>
                <a:lnTo>
                  <a:pt x="556" y="2606"/>
                </a:lnTo>
                <a:lnTo>
                  <a:pt x="566" y="2599"/>
                </a:lnTo>
                <a:lnTo>
                  <a:pt x="576" y="2590"/>
                </a:lnTo>
                <a:lnTo>
                  <a:pt x="583" y="2582"/>
                </a:lnTo>
                <a:lnTo>
                  <a:pt x="590" y="2572"/>
                </a:lnTo>
                <a:lnTo>
                  <a:pt x="597" y="2561"/>
                </a:lnTo>
                <a:lnTo>
                  <a:pt x="603" y="2550"/>
                </a:lnTo>
                <a:lnTo>
                  <a:pt x="606" y="2537"/>
                </a:lnTo>
                <a:lnTo>
                  <a:pt x="609" y="2524"/>
                </a:lnTo>
                <a:lnTo>
                  <a:pt x="611" y="2510"/>
                </a:lnTo>
                <a:lnTo>
                  <a:pt x="611" y="2496"/>
                </a:lnTo>
                <a:lnTo>
                  <a:pt x="611" y="2244"/>
                </a:lnTo>
                <a:lnTo>
                  <a:pt x="611" y="2055"/>
                </a:lnTo>
                <a:lnTo>
                  <a:pt x="611" y="1920"/>
                </a:lnTo>
                <a:lnTo>
                  <a:pt x="611" y="1830"/>
                </a:lnTo>
                <a:lnTo>
                  <a:pt x="611" y="1775"/>
                </a:lnTo>
                <a:lnTo>
                  <a:pt x="611" y="1746"/>
                </a:lnTo>
                <a:lnTo>
                  <a:pt x="611" y="1736"/>
                </a:lnTo>
                <a:lnTo>
                  <a:pt x="611" y="1735"/>
                </a:lnTo>
                <a:lnTo>
                  <a:pt x="612" y="1730"/>
                </a:lnTo>
                <a:lnTo>
                  <a:pt x="615" y="1721"/>
                </a:lnTo>
                <a:lnTo>
                  <a:pt x="618" y="1716"/>
                </a:lnTo>
                <a:lnTo>
                  <a:pt x="622" y="1711"/>
                </a:lnTo>
                <a:lnTo>
                  <a:pt x="629" y="1709"/>
                </a:lnTo>
                <a:lnTo>
                  <a:pt x="638" y="1708"/>
                </a:lnTo>
                <a:lnTo>
                  <a:pt x="646" y="1709"/>
                </a:lnTo>
                <a:lnTo>
                  <a:pt x="652" y="1711"/>
                </a:lnTo>
                <a:lnTo>
                  <a:pt x="657" y="1716"/>
                </a:lnTo>
                <a:lnTo>
                  <a:pt x="661" y="1721"/>
                </a:lnTo>
                <a:lnTo>
                  <a:pt x="663" y="1730"/>
                </a:lnTo>
                <a:lnTo>
                  <a:pt x="663" y="1735"/>
                </a:lnTo>
                <a:lnTo>
                  <a:pt x="663" y="1985"/>
                </a:lnTo>
                <a:lnTo>
                  <a:pt x="663" y="2175"/>
                </a:lnTo>
                <a:lnTo>
                  <a:pt x="663" y="2310"/>
                </a:lnTo>
                <a:lnTo>
                  <a:pt x="663" y="2401"/>
                </a:lnTo>
                <a:lnTo>
                  <a:pt x="663" y="2456"/>
                </a:lnTo>
                <a:lnTo>
                  <a:pt x="663" y="2484"/>
                </a:lnTo>
                <a:lnTo>
                  <a:pt x="663" y="2494"/>
                </a:lnTo>
                <a:lnTo>
                  <a:pt x="663" y="2496"/>
                </a:lnTo>
                <a:lnTo>
                  <a:pt x="664" y="2510"/>
                </a:lnTo>
                <a:lnTo>
                  <a:pt x="666" y="2524"/>
                </a:lnTo>
                <a:lnTo>
                  <a:pt x="669" y="2537"/>
                </a:lnTo>
                <a:lnTo>
                  <a:pt x="673" y="2550"/>
                </a:lnTo>
                <a:lnTo>
                  <a:pt x="678" y="2561"/>
                </a:lnTo>
                <a:lnTo>
                  <a:pt x="684" y="2572"/>
                </a:lnTo>
                <a:lnTo>
                  <a:pt x="691" y="2582"/>
                </a:lnTo>
                <a:lnTo>
                  <a:pt x="700" y="2590"/>
                </a:lnTo>
                <a:lnTo>
                  <a:pt x="708" y="2599"/>
                </a:lnTo>
                <a:lnTo>
                  <a:pt x="719" y="2606"/>
                </a:lnTo>
                <a:lnTo>
                  <a:pt x="729" y="2612"/>
                </a:lnTo>
                <a:lnTo>
                  <a:pt x="741" y="2617"/>
                </a:lnTo>
                <a:lnTo>
                  <a:pt x="753" y="2622"/>
                </a:lnTo>
                <a:lnTo>
                  <a:pt x="766" y="2625"/>
                </a:lnTo>
                <a:lnTo>
                  <a:pt x="780" y="2627"/>
                </a:lnTo>
                <a:lnTo>
                  <a:pt x="794" y="2627"/>
                </a:lnTo>
                <a:lnTo>
                  <a:pt x="809" y="2627"/>
                </a:lnTo>
                <a:lnTo>
                  <a:pt x="822" y="2625"/>
                </a:lnTo>
                <a:lnTo>
                  <a:pt x="836" y="2622"/>
                </a:lnTo>
                <a:lnTo>
                  <a:pt x="848" y="2617"/>
                </a:lnTo>
                <a:lnTo>
                  <a:pt x="859" y="2612"/>
                </a:lnTo>
                <a:lnTo>
                  <a:pt x="870" y="2606"/>
                </a:lnTo>
                <a:lnTo>
                  <a:pt x="879" y="2599"/>
                </a:lnTo>
                <a:lnTo>
                  <a:pt x="889" y="2590"/>
                </a:lnTo>
                <a:lnTo>
                  <a:pt x="898" y="2582"/>
                </a:lnTo>
                <a:lnTo>
                  <a:pt x="904" y="2572"/>
                </a:lnTo>
                <a:lnTo>
                  <a:pt x="910" y="2561"/>
                </a:lnTo>
                <a:lnTo>
                  <a:pt x="916" y="2550"/>
                </a:lnTo>
                <a:lnTo>
                  <a:pt x="919" y="2537"/>
                </a:lnTo>
                <a:lnTo>
                  <a:pt x="922" y="2524"/>
                </a:lnTo>
                <a:lnTo>
                  <a:pt x="924" y="2510"/>
                </a:lnTo>
                <a:lnTo>
                  <a:pt x="924" y="2496"/>
                </a:lnTo>
                <a:lnTo>
                  <a:pt x="924" y="2244"/>
                </a:lnTo>
                <a:lnTo>
                  <a:pt x="924" y="2055"/>
                </a:lnTo>
                <a:lnTo>
                  <a:pt x="924" y="1920"/>
                </a:lnTo>
                <a:lnTo>
                  <a:pt x="924" y="1830"/>
                </a:lnTo>
                <a:lnTo>
                  <a:pt x="924" y="1775"/>
                </a:lnTo>
                <a:lnTo>
                  <a:pt x="924" y="1746"/>
                </a:lnTo>
                <a:lnTo>
                  <a:pt x="924" y="1736"/>
                </a:lnTo>
                <a:lnTo>
                  <a:pt x="924" y="1735"/>
                </a:lnTo>
                <a:lnTo>
                  <a:pt x="924" y="1725"/>
                </a:lnTo>
                <a:lnTo>
                  <a:pt x="926" y="1715"/>
                </a:lnTo>
                <a:lnTo>
                  <a:pt x="927" y="1706"/>
                </a:lnTo>
                <a:lnTo>
                  <a:pt x="928" y="1698"/>
                </a:lnTo>
                <a:lnTo>
                  <a:pt x="932" y="1692"/>
                </a:lnTo>
                <a:lnTo>
                  <a:pt x="936" y="1686"/>
                </a:lnTo>
                <a:lnTo>
                  <a:pt x="939" y="1684"/>
                </a:lnTo>
                <a:lnTo>
                  <a:pt x="942" y="1683"/>
                </a:lnTo>
                <a:lnTo>
                  <a:pt x="946" y="1682"/>
                </a:lnTo>
                <a:lnTo>
                  <a:pt x="951" y="1682"/>
                </a:lnTo>
                <a:lnTo>
                  <a:pt x="951" y="1666"/>
                </a:lnTo>
                <a:lnTo>
                  <a:pt x="951" y="1655"/>
                </a:lnTo>
                <a:lnTo>
                  <a:pt x="951" y="1644"/>
                </a:lnTo>
                <a:lnTo>
                  <a:pt x="951" y="1629"/>
                </a:lnTo>
                <a:lnTo>
                  <a:pt x="951" y="1525"/>
                </a:lnTo>
                <a:lnTo>
                  <a:pt x="951" y="1447"/>
                </a:lnTo>
                <a:lnTo>
                  <a:pt x="951" y="1391"/>
                </a:lnTo>
                <a:lnTo>
                  <a:pt x="951" y="1353"/>
                </a:lnTo>
                <a:lnTo>
                  <a:pt x="951" y="1331"/>
                </a:lnTo>
                <a:lnTo>
                  <a:pt x="951" y="1319"/>
                </a:lnTo>
                <a:lnTo>
                  <a:pt x="951" y="1314"/>
                </a:lnTo>
                <a:lnTo>
                  <a:pt x="951" y="1314"/>
                </a:lnTo>
                <a:lnTo>
                  <a:pt x="951" y="1302"/>
                </a:lnTo>
                <a:lnTo>
                  <a:pt x="953" y="1294"/>
                </a:lnTo>
                <a:lnTo>
                  <a:pt x="955" y="1293"/>
                </a:lnTo>
                <a:lnTo>
                  <a:pt x="956" y="1292"/>
                </a:lnTo>
                <a:lnTo>
                  <a:pt x="958" y="1292"/>
                </a:lnTo>
                <a:lnTo>
                  <a:pt x="961" y="1293"/>
                </a:lnTo>
                <a:lnTo>
                  <a:pt x="966" y="1299"/>
                </a:lnTo>
                <a:lnTo>
                  <a:pt x="972" y="1307"/>
                </a:lnTo>
                <a:lnTo>
                  <a:pt x="979" y="1318"/>
                </a:lnTo>
                <a:lnTo>
                  <a:pt x="987" y="1330"/>
                </a:lnTo>
                <a:lnTo>
                  <a:pt x="1006" y="1359"/>
                </a:lnTo>
                <a:lnTo>
                  <a:pt x="1027" y="1391"/>
                </a:lnTo>
                <a:lnTo>
                  <a:pt x="1041" y="1407"/>
                </a:lnTo>
                <a:lnTo>
                  <a:pt x="1053" y="1422"/>
                </a:lnTo>
                <a:lnTo>
                  <a:pt x="1068" y="1434"/>
                </a:lnTo>
                <a:lnTo>
                  <a:pt x="1081" y="1445"/>
                </a:lnTo>
                <a:lnTo>
                  <a:pt x="1093" y="1450"/>
                </a:lnTo>
                <a:lnTo>
                  <a:pt x="1106" y="1455"/>
                </a:lnTo>
                <a:lnTo>
                  <a:pt x="1123" y="1459"/>
                </a:lnTo>
                <a:lnTo>
                  <a:pt x="1142" y="1464"/>
                </a:lnTo>
                <a:lnTo>
                  <a:pt x="1182" y="1472"/>
                </a:lnTo>
                <a:lnTo>
                  <a:pt x="1225" y="1478"/>
                </a:lnTo>
                <a:lnTo>
                  <a:pt x="1247" y="1480"/>
                </a:lnTo>
                <a:lnTo>
                  <a:pt x="1269" y="1481"/>
                </a:lnTo>
                <a:lnTo>
                  <a:pt x="1290" y="1483"/>
                </a:lnTo>
                <a:lnTo>
                  <a:pt x="1309" y="1483"/>
                </a:lnTo>
                <a:lnTo>
                  <a:pt x="1327" y="1481"/>
                </a:lnTo>
                <a:lnTo>
                  <a:pt x="1343" y="1479"/>
                </a:lnTo>
                <a:lnTo>
                  <a:pt x="1358" y="1475"/>
                </a:lnTo>
                <a:lnTo>
                  <a:pt x="1369" y="1472"/>
                </a:lnTo>
                <a:lnTo>
                  <a:pt x="1372" y="1470"/>
                </a:lnTo>
                <a:lnTo>
                  <a:pt x="1382" y="1468"/>
                </a:lnTo>
                <a:lnTo>
                  <a:pt x="1387" y="1466"/>
                </a:lnTo>
                <a:lnTo>
                  <a:pt x="1390" y="1461"/>
                </a:lnTo>
                <a:lnTo>
                  <a:pt x="1394" y="1453"/>
                </a:lnTo>
                <a:lnTo>
                  <a:pt x="1394" y="1445"/>
                </a:lnTo>
                <a:lnTo>
                  <a:pt x="1398" y="1445"/>
                </a:lnTo>
                <a:lnTo>
                  <a:pt x="1421" y="1445"/>
                </a:lnTo>
                <a:lnTo>
                  <a:pt x="1585" y="1428"/>
                </a:lnTo>
                <a:lnTo>
                  <a:pt x="1707" y="1414"/>
                </a:lnTo>
                <a:lnTo>
                  <a:pt x="1796" y="1406"/>
                </a:lnTo>
                <a:lnTo>
                  <a:pt x="1854" y="1400"/>
                </a:lnTo>
                <a:lnTo>
                  <a:pt x="1891" y="1396"/>
                </a:lnTo>
                <a:lnTo>
                  <a:pt x="1909" y="1393"/>
                </a:lnTo>
                <a:lnTo>
                  <a:pt x="1916" y="1392"/>
                </a:lnTo>
                <a:lnTo>
                  <a:pt x="1917" y="1392"/>
                </a:lnTo>
                <a:lnTo>
                  <a:pt x="1927" y="1391"/>
                </a:lnTo>
                <a:lnTo>
                  <a:pt x="1936" y="1389"/>
                </a:lnTo>
                <a:lnTo>
                  <a:pt x="1945" y="1382"/>
                </a:lnTo>
                <a:lnTo>
                  <a:pt x="1953" y="1376"/>
                </a:lnTo>
                <a:lnTo>
                  <a:pt x="1960" y="1368"/>
                </a:lnTo>
                <a:lnTo>
                  <a:pt x="1965" y="1359"/>
                </a:lnTo>
                <a:lnTo>
                  <a:pt x="1968" y="1349"/>
                </a:lnTo>
                <a:lnTo>
                  <a:pt x="1970" y="1340"/>
                </a:lnTo>
                <a:lnTo>
                  <a:pt x="1970" y="1340"/>
                </a:lnTo>
                <a:close/>
                <a:moveTo>
                  <a:pt x="2890" y="689"/>
                </a:moveTo>
                <a:lnTo>
                  <a:pt x="2863" y="662"/>
                </a:lnTo>
                <a:lnTo>
                  <a:pt x="2838" y="662"/>
                </a:lnTo>
                <a:lnTo>
                  <a:pt x="2814" y="662"/>
                </a:lnTo>
                <a:lnTo>
                  <a:pt x="2811" y="662"/>
                </a:lnTo>
                <a:lnTo>
                  <a:pt x="2802" y="672"/>
                </a:lnTo>
                <a:lnTo>
                  <a:pt x="2780" y="698"/>
                </a:lnTo>
                <a:lnTo>
                  <a:pt x="2749" y="734"/>
                </a:lnTo>
                <a:lnTo>
                  <a:pt x="2709" y="780"/>
                </a:lnTo>
                <a:lnTo>
                  <a:pt x="2666" y="830"/>
                </a:lnTo>
                <a:lnTo>
                  <a:pt x="2623" y="879"/>
                </a:lnTo>
                <a:lnTo>
                  <a:pt x="2583" y="923"/>
                </a:lnTo>
                <a:lnTo>
                  <a:pt x="2549" y="958"/>
                </a:lnTo>
                <a:lnTo>
                  <a:pt x="2453" y="914"/>
                </a:lnTo>
                <a:lnTo>
                  <a:pt x="2382" y="881"/>
                </a:lnTo>
                <a:lnTo>
                  <a:pt x="2330" y="857"/>
                </a:lnTo>
                <a:lnTo>
                  <a:pt x="2296" y="841"/>
                </a:lnTo>
                <a:lnTo>
                  <a:pt x="2275" y="831"/>
                </a:lnTo>
                <a:lnTo>
                  <a:pt x="2265" y="826"/>
                </a:lnTo>
                <a:lnTo>
                  <a:pt x="2261" y="824"/>
                </a:lnTo>
                <a:lnTo>
                  <a:pt x="2260" y="824"/>
                </a:lnTo>
                <a:lnTo>
                  <a:pt x="2234" y="824"/>
                </a:lnTo>
                <a:lnTo>
                  <a:pt x="2223" y="824"/>
                </a:lnTo>
                <a:lnTo>
                  <a:pt x="2214" y="825"/>
                </a:lnTo>
                <a:lnTo>
                  <a:pt x="2204" y="825"/>
                </a:lnTo>
                <a:lnTo>
                  <a:pt x="2194" y="827"/>
                </a:lnTo>
                <a:lnTo>
                  <a:pt x="2184" y="831"/>
                </a:lnTo>
                <a:lnTo>
                  <a:pt x="2175" y="835"/>
                </a:lnTo>
                <a:lnTo>
                  <a:pt x="2165" y="842"/>
                </a:lnTo>
                <a:lnTo>
                  <a:pt x="2155" y="851"/>
                </a:lnTo>
                <a:lnTo>
                  <a:pt x="2095" y="931"/>
                </a:lnTo>
                <a:lnTo>
                  <a:pt x="2048" y="991"/>
                </a:lnTo>
                <a:lnTo>
                  <a:pt x="2016" y="1034"/>
                </a:lnTo>
                <a:lnTo>
                  <a:pt x="1994" y="1063"/>
                </a:lnTo>
                <a:lnTo>
                  <a:pt x="1980" y="1080"/>
                </a:lnTo>
                <a:lnTo>
                  <a:pt x="1974" y="1089"/>
                </a:lnTo>
                <a:lnTo>
                  <a:pt x="1972" y="1093"/>
                </a:lnTo>
                <a:lnTo>
                  <a:pt x="1971" y="1093"/>
                </a:lnTo>
                <a:lnTo>
                  <a:pt x="1902" y="1093"/>
                </a:lnTo>
                <a:lnTo>
                  <a:pt x="1851" y="1093"/>
                </a:lnTo>
                <a:lnTo>
                  <a:pt x="1813" y="1093"/>
                </a:lnTo>
                <a:lnTo>
                  <a:pt x="1787" y="1093"/>
                </a:lnTo>
                <a:lnTo>
                  <a:pt x="1773" y="1093"/>
                </a:lnTo>
                <a:lnTo>
                  <a:pt x="1764" y="1093"/>
                </a:lnTo>
                <a:lnTo>
                  <a:pt x="1762" y="1093"/>
                </a:lnTo>
                <a:lnTo>
                  <a:pt x="1762" y="1093"/>
                </a:lnTo>
                <a:lnTo>
                  <a:pt x="1757" y="1094"/>
                </a:lnTo>
                <a:lnTo>
                  <a:pt x="1752" y="1094"/>
                </a:lnTo>
                <a:lnTo>
                  <a:pt x="1750" y="1096"/>
                </a:lnTo>
                <a:lnTo>
                  <a:pt x="1746" y="1098"/>
                </a:lnTo>
                <a:lnTo>
                  <a:pt x="1741" y="1102"/>
                </a:lnTo>
                <a:lnTo>
                  <a:pt x="1739" y="1110"/>
                </a:lnTo>
                <a:lnTo>
                  <a:pt x="1736" y="1118"/>
                </a:lnTo>
                <a:lnTo>
                  <a:pt x="1735" y="1127"/>
                </a:lnTo>
                <a:lnTo>
                  <a:pt x="1735" y="1137"/>
                </a:lnTo>
                <a:lnTo>
                  <a:pt x="1735" y="1146"/>
                </a:lnTo>
                <a:lnTo>
                  <a:pt x="1735" y="1156"/>
                </a:lnTo>
                <a:lnTo>
                  <a:pt x="1735" y="1162"/>
                </a:lnTo>
                <a:lnTo>
                  <a:pt x="1736" y="1167"/>
                </a:lnTo>
                <a:lnTo>
                  <a:pt x="1739" y="1171"/>
                </a:lnTo>
                <a:lnTo>
                  <a:pt x="1741" y="1172"/>
                </a:lnTo>
                <a:lnTo>
                  <a:pt x="1746" y="1173"/>
                </a:lnTo>
                <a:lnTo>
                  <a:pt x="1752" y="1173"/>
                </a:lnTo>
                <a:lnTo>
                  <a:pt x="1762" y="1173"/>
                </a:lnTo>
                <a:lnTo>
                  <a:pt x="1831" y="1173"/>
                </a:lnTo>
                <a:lnTo>
                  <a:pt x="1883" y="1173"/>
                </a:lnTo>
                <a:lnTo>
                  <a:pt x="1920" y="1173"/>
                </a:lnTo>
                <a:lnTo>
                  <a:pt x="1945" y="1173"/>
                </a:lnTo>
                <a:lnTo>
                  <a:pt x="1960" y="1173"/>
                </a:lnTo>
                <a:lnTo>
                  <a:pt x="1968" y="1173"/>
                </a:lnTo>
                <a:lnTo>
                  <a:pt x="1971" y="1173"/>
                </a:lnTo>
                <a:lnTo>
                  <a:pt x="1971" y="1173"/>
                </a:lnTo>
                <a:lnTo>
                  <a:pt x="1982" y="1173"/>
                </a:lnTo>
                <a:lnTo>
                  <a:pt x="1991" y="1173"/>
                </a:lnTo>
                <a:lnTo>
                  <a:pt x="2001" y="1172"/>
                </a:lnTo>
                <a:lnTo>
                  <a:pt x="2011" y="1171"/>
                </a:lnTo>
                <a:lnTo>
                  <a:pt x="2021" y="1167"/>
                </a:lnTo>
                <a:lnTo>
                  <a:pt x="2030" y="1162"/>
                </a:lnTo>
                <a:lnTo>
                  <a:pt x="2040" y="1156"/>
                </a:lnTo>
                <a:lnTo>
                  <a:pt x="2050" y="1146"/>
                </a:lnTo>
                <a:lnTo>
                  <a:pt x="2056" y="1139"/>
                </a:lnTo>
                <a:lnTo>
                  <a:pt x="2072" y="1117"/>
                </a:lnTo>
                <a:lnTo>
                  <a:pt x="2095" y="1084"/>
                </a:lnTo>
                <a:lnTo>
                  <a:pt x="2123" y="1046"/>
                </a:lnTo>
                <a:lnTo>
                  <a:pt x="2153" y="1005"/>
                </a:lnTo>
                <a:lnTo>
                  <a:pt x="2183" y="966"/>
                </a:lnTo>
                <a:lnTo>
                  <a:pt x="2211" y="930"/>
                </a:lnTo>
                <a:lnTo>
                  <a:pt x="2234" y="904"/>
                </a:lnTo>
                <a:lnTo>
                  <a:pt x="2329" y="950"/>
                </a:lnTo>
                <a:lnTo>
                  <a:pt x="2401" y="983"/>
                </a:lnTo>
                <a:lnTo>
                  <a:pt x="2451" y="1006"/>
                </a:lnTo>
                <a:lnTo>
                  <a:pt x="2487" y="1023"/>
                </a:lnTo>
                <a:lnTo>
                  <a:pt x="2507" y="1033"/>
                </a:lnTo>
                <a:lnTo>
                  <a:pt x="2518" y="1038"/>
                </a:lnTo>
                <a:lnTo>
                  <a:pt x="2522" y="1039"/>
                </a:lnTo>
                <a:lnTo>
                  <a:pt x="2522" y="1039"/>
                </a:lnTo>
                <a:lnTo>
                  <a:pt x="2527" y="1039"/>
                </a:lnTo>
                <a:lnTo>
                  <a:pt x="2539" y="1039"/>
                </a:lnTo>
                <a:lnTo>
                  <a:pt x="2556" y="1039"/>
                </a:lnTo>
                <a:lnTo>
                  <a:pt x="2575" y="1039"/>
                </a:lnTo>
                <a:lnTo>
                  <a:pt x="2601" y="1039"/>
                </a:lnTo>
                <a:lnTo>
                  <a:pt x="2688" y="933"/>
                </a:lnTo>
                <a:lnTo>
                  <a:pt x="2753" y="853"/>
                </a:lnTo>
                <a:lnTo>
                  <a:pt x="2800" y="796"/>
                </a:lnTo>
                <a:lnTo>
                  <a:pt x="2830" y="756"/>
                </a:lnTo>
                <a:lnTo>
                  <a:pt x="2850" y="733"/>
                </a:lnTo>
                <a:lnTo>
                  <a:pt x="2859" y="721"/>
                </a:lnTo>
                <a:lnTo>
                  <a:pt x="2863" y="717"/>
                </a:lnTo>
                <a:lnTo>
                  <a:pt x="2863" y="716"/>
                </a:lnTo>
                <a:lnTo>
                  <a:pt x="2872" y="716"/>
                </a:lnTo>
                <a:lnTo>
                  <a:pt x="2879" y="716"/>
                </a:lnTo>
                <a:lnTo>
                  <a:pt x="2884" y="715"/>
                </a:lnTo>
                <a:lnTo>
                  <a:pt x="2886" y="712"/>
                </a:lnTo>
                <a:lnTo>
                  <a:pt x="2889" y="710"/>
                </a:lnTo>
                <a:lnTo>
                  <a:pt x="2890" y="705"/>
                </a:lnTo>
                <a:lnTo>
                  <a:pt x="2890" y="698"/>
                </a:lnTo>
                <a:lnTo>
                  <a:pt x="2890" y="689"/>
                </a:lnTo>
                <a:close/>
                <a:moveTo>
                  <a:pt x="2487" y="247"/>
                </a:moveTo>
                <a:lnTo>
                  <a:pt x="2468" y="247"/>
                </a:lnTo>
                <a:lnTo>
                  <a:pt x="2449" y="243"/>
                </a:lnTo>
                <a:lnTo>
                  <a:pt x="2439" y="241"/>
                </a:lnTo>
                <a:lnTo>
                  <a:pt x="2430" y="236"/>
                </a:lnTo>
                <a:lnTo>
                  <a:pt x="2420" y="230"/>
                </a:lnTo>
                <a:lnTo>
                  <a:pt x="2410" y="221"/>
                </a:lnTo>
                <a:lnTo>
                  <a:pt x="2365" y="177"/>
                </a:lnTo>
                <a:lnTo>
                  <a:pt x="2342" y="155"/>
                </a:lnTo>
                <a:lnTo>
                  <a:pt x="2334" y="146"/>
                </a:lnTo>
                <a:lnTo>
                  <a:pt x="2333" y="145"/>
                </a:lnTo>
                <a:lnTo>
                  <a:pt x="2313" y="145"/>
                </a:lnTo>
                <a:lnTo>
                  <a:pt x="2294" y="145"/>
                </a:lnTo>
                <a:lnTo>
                  <a:pt x="2274" y="145"/>
                </a:lnTo>
                <a:lnTo>
                  <a:pt x="2256" y="145"/>
                </a:lnTo>
                <a:lnTo>
                  <a:pt x="2226" y="189"/>
                </a:lnTo>
                <a:lnTo>
                  <a:pt x="2210" y="212"/>
                </a:lnTo>
                <a:lnTo>
                  <a:pt x="2205" y="220"/>
                </a:lnTo>
                <a:lnTo>
                  <a:pt x="2204" y="221"/>
                </a:lnTo>
                <a:lnTo>
                  <a:pt x="2194" y="222"/>
                </a:lnTo>
                <a:lnTo>
                  <a:pt x="2184" y="226"/>
                </a:lnTo>
                <a:lnTo>
                  <a:pt x="2175" y="230"/>
                </a:lnTo>
                <a:lnTo>
                  <a:pt x="2165" y="234"/>
                </a:lnTo>
                <a:lnTo>
                  <a:pt x="2155" y="239"/>
                </a:lnTo>
                <a:lnTo>
                  <a:pt x="2146" y="243"/>
                </a:lnTo>
                <a:lnTo>
                  <a:pt x="2136" y="245"/>
                </a:lnTo>
                <a:lnTo>
                  <a:pt x="2127" y="247"/>
                </a:lnTo>
                <a:lnTo>
                  <a:pt x="2082" y="247"/>
                </a:lnTo>
                <a:lnTo>
                  <a:pt x="2059" y="247"/>
                </a:lnTo>
                <a:lnTo>
                  <a:pt x="2051" y="247"/>
                </a:lnTo>
                <a:lnTo>
                  <a:pt x="2050" y="247"/>
                </a:lnTo>
                <a:lnTo>
                  <a:pt x="2046" y="247"/>
                </a:lnTo>
                <a:lnTo>
                  <a:pt x="2040" y="243"/>
                </a:lnTo>
                <a:lnTo>
                  <a:pt x="2039" y="241"/>
                </a:lnTo>
                <a:lnTo>
                  <a:pt x="2039" y="236"/>
                </a:lnTo>
                <a:lnTo>
                  <a:pt x="2042" y="230"/>
                </a:lnTo>
                <a:lnTo>
                  <a:pt x="2050" y="221"/>
                </a:lnTo>
                <a:lnTo>
                  <a:pt x="2118" y="154"/>
                </a:lnTo>
                <a:lnTo>
                  <a:pt x="2169" y="104"/>
                </a:lnTo>
                <a:lnTo>
                  <a:pt x="2205" y="68"/>
                </a:lnTo>
                <a:lnTo>
                  <a:pt x="2229" y="44"/>
                </a:lnTo>
                <a:lnTo>
                  <a:pt x="2245" y="29"/>
                </a:lnTo>
                <a:lnTo>
                  <a:pt x="2252" y="22"/>
                </a:lnTo>
                <a:lnTo>
                  <a:pt x="2255" y="19"/>
                </a:lnTo>
                <a:lnTo>
                  <a:pt x="2256" y="18"/>
                </a:lnTo>
                <a:lnTo>
                  <a:pt x="2266" y="9"/>
                </a:lnTo>
                <a:lnTo>
                  <a:pt x="2274" y="5"/>
                </a:lnTo>
                <a:lnTo>
                  <a:pt x="2284" y="1"/>
                </a:lnTo>
                <a:lnTo>
                  <a:pt x="2294" y="0"/>
                </a:lnTo>
                <a:lnTo>
                  <a:pt x="2303" y="1"/>
                </a:lnTo>
                <a:lnTo>
                  <a:pt x="2313" y="5"/>
                </a:lnTo>
                <a:lnTo>
                  <a:pt x="2323" y="9"/>
                </a:lnTo>
                <a:lnTo>
                  <a:pt x="2333" y="18"/>
                </a:lnTo>
                <a:lnTo>
                  <a:pt x="2409" y="85"/>
                </a:lnTo>
                <a:lnTo>
                  <a:pt x="2467" y="135"/>
                </a:lnTo>
                <a:lnTo>
                  <a:pt x="2509" y="172"/>
                </a:lnTo>
                <a:lnTo>
                  <a:pt x="2535" y="197"/>
                </a:lnTo>
                <a:lnTo>
                  <a:pt x="2552" y="211"/>
                </a:lnTo>
                <a:lnTo>
                  <a:pt x="2561" y="219"/>
                </a:lnTo>
                <a:lnTo>
                  <a:pt x="2564" y="221"/>
                </a:lnTo>
                <a:lnTo>
                  <a:pt x="2564" y="221"/>
                </a:lnTo>
                <a:lnTo>
                  <a:pt x="2564" y="230"/>
                </a:lnTo>
                <a:lnTo>
                  <a:pt x="2564" y="236"/>
                </a:lnTo>
                <a:lnTo>
                  <a:pt x="2563" y="241"/>
                </a:lnTo>
                <a:lnTo>
                  <a:pt x="2561" y="243"/>
                </a:lnTo>
                <a:lnTo>
                  <a:pt x="2558" y="245"/>
                </a:lnTo>
                <a:lnTo>
                  <a:pt x="2553" y="247"/>
                </a:lnTo>
                <a:lnTo>
                  <a:pt x="2547" y="247"/>
                </a:lnTo>
                <a:lnTo>
                  <a:pt x="2539" y="247"/>
                </a:lnTo>
                <a:lnTo>
                  <a:pt x="2487" y="247"/>
                </a:lnTo>
                <a:close/>
                <a:moveTo>
                  <a:pt x="3061" y="565"/>
                </a:moveTo>
                <a:lnTo>
                  <a:pt x="3075" y="549"/>
                </a:lnTo>
                <a:lnTo>
                  <a:pt x="3084" y="539"/>
                </a:lnTo>
                <a:lnTo>
                  <a:pt x="3085" y="534"/>
                </a:lnTo>
                <a:lnTo>
                  <a:pt x="3086" y="528"/>
                </a:lnTo>
                <a:lnTo>
                  <a:pt x="3086" y="522"/>
                </a:lnTo>
                <a:lnTo>
                  <a:pt x="3086" y="512"/>
                </a:lnTo>
                <a:lnTo>
                  <a:pt x="3086" y="483"/>
                </a:lnTo>
                <a:lnTo>
                  <a:pt x="3086" y="467"/>
                </a:lnTo>
                <a:lnTo>
                  <a:pt x="3086" y="462"/>
                </a:lnTo>
                <a:lnTo>
                  <a:pt x="3086" y="461"/>
                </a:lnTo>
                <a:lnTo>
                  <a:pt x="3086" y="451"/>
                </a:lnTo>
                <a:lnTo>
                  <a:pt x="3083" y="441"/>
                </a:lnTo>
                <a:lnTo>
                  <a:pt x="3078" y="432"/>
                </a:lnTo>
                <a:lnTo>
                  <a:pt x="3071" y="425"/>
                </a:lnTo>
                <a:lnTo>
                  <a:pt x="3063" y="418"/>
                </a:lnTo>
                <a:lnTo>
                  <a:pt x="3054" y="413"/>
                </a:lnTo>
                <a:lnTo>
                  <a:pt x="3045" y="409"/>
                </a:lnTo>
                <a:lnTo>
                  <a:pt x="3035" y="408"/>
                </a:lnTo>
                <a:lnTo>
                  <a:pt x="2774" y="408"/>
                </a:lnTo>
                <a:lnTo>
                  <a:pt x="2546" y="408"/>
                </a:lnTo>
                <a:lnTo>
                  <a:pt x="2348" y="408"/>
                </a:lnTo>
                <a:lnTo>
                  <a:pt x="2178" y="408"/>
                </a:lnTo>
                <a:lnTo>
                  <a:pt x="2035" y="408"/>
                </a:lnTo>
                <a:lnTo>
                  <a:pt x="1915" y="408"/>
                </a:lnTo>
                <a:lnTo>
                  <a:pt x="1817" y="408"/>
                </a:lnTo>
                <a:lnTo>
                  <a:pt x="1739" y="408"/>
                </a:lnTo>
                <a:lnTo>
                  <a:pt x="1677" y="408"/>
                </a:lnTo>
                <a:lnTo>
                  <a:pt x="1631" y="408"/>
                </a:lnTo>
                <a:lnTo>
                  <a:pt x="1598" y="408"/>
                </a:lnTo>
                <a:lnTo>
                  <a:pt x="1576" y="408"/>
                </a:lnTo>
                <a:lnTo>
                  <a:pt x="1563" y="408"/>
                </a:lnTo>
                <a:lnTo>
                  <a:pt x="1557" y="408"/>
                </a:lnTo>
                <a:lnTo>
                  <a:pt x="1553" y="408"/>
                </a:lnTo>
                <a:lnTo>
                  <a:pt x="1553" y="408"/>
                </a:lnTo>
                <a:lnTo>
                  <a:pt x="1543" y="409"/>
                </a:lnTo>
                <a:lnTo>
                  <a:pt x="1534" y="413"/>
                </a:lnTo>
                <a:lnTo>
                  <a:pt x="1525" y="418"/>
                </a:lnTo>
                <a:lnTo>
                  <a:pt x="1518" y="425"/>
                </a:lnTo>
                <a:lnTo>
                  <a:pt x="1511" y="432"/>
                </a:lnTo>
                <a:lnTo>
                  <a:pt x="1506" y="441"/>
                </a:lnTo>
                <a:lnTo>
                  <a:pt x="1502" y="451"/>
                </a:lnTo>
                <a:lnTo>
                  <a:pt x="1501" y="461"/>
                </a:lnTo>
                <a:lnTo>
                  <a:pt x="1501" y="491"/>
                </a:lnTo>
                <a:lnTo>
                  <a:pt x="1501" y="506"/>
                </a:lnTo>
                <a:lnTo>
                  <a:pt x="1501" y="512"/>
                </a:lnTo>
                <a:lnTo>
                  <a:pt x="1501" y="512"/>
                </a:lnTo>
                <a:lnTo>
                  <a:pt x="1502" y="517"/>
                </a:lnTo>
                <a:lnTo>
                  <a:pt x="1505" y="529"/>
                </a:lnTo>
                <a:lnTo>
                  <a:pt x="1508" y="536"/>
                </a:lnTo>
                <a:lnTo>
                  <a:pt x="1512" y="545"/>
                </a:lnTo>
                <a:lnTo>
                  <a:pt x="1519" y="555"/>
                </a:lnTo>
                <a:lnTo>
                  <a:pt x="1528" y="565"/>
                </a:lnTo>
                <a:lnTo>
                  <a:pt x="1553" y="565"/>
                </a:lnTo>
                <a:lnTo>
                  <a:pt x="1553" y="778"/>
                </a:lnTo>
                <a:lnTo>
                  <a:pt x="1553" y="940"/>
                </a:lnTo>
                <a:lnTo>
                  <a:pt x="1553" y="1055"/>
                </a:lnTo>
                <a:lnTo>
                  <a:pt x="1553" y="1133"/>
                </a:lnTo>
                <a:lnTo>
                  <a:pt x="1553" y="1179"/>
                </a:lnTo>
                <a:lnTo>
                  <a:pt x="1553" y="1204"/>
                </a:lnTo>
                <a:lnTo>
                  <a:pt x="1553" y="1212"/>
                </a:lnTo>
                <a:lnTo>
                  <a:pt x="1553" y="1214"/>
                </a:lnTo>
                <a:lnTo>
                  <a:pt x="1598" y="1214"/>
                </a:lnTo>
                <a:lnTo>
                  <a:pt x="1621" y="1214"/>
                </a:lnTo>
                <a:lnTo>
                  <a:pt x="1630" y="1214"/>
                </a:lnTo>
                <a:lnTo>
                  <a:pt x="1631" y="1214"/>
                </a:lnTo>
                <a:lnTo>
                  <a:pt x="1631" y="1000"/>
                </a:lnTo>
                <a:lnTo>
                  <a:pt x="1631" y="838"/>
                </a:lnTo>
                <a:lnTo>
                  <a:pt x="1631" y="723"/>
                </a:lnTo>
                <a:lnTo>
                  <a:pt x="1631" y="645"/>
                </a:lnTo>
                <a:lnTo>
                  <a:pt x="1631" y="599"/>
                </a:lnTo>
                <a:lnTo>
                  <a:pt x="1631" y="574"/>
                </a:lnTo>
                <a:lnTo>
                  <a:pt x="1631" y="566"/>
                </a:lnTo>
                <a:lnTo>
                  <a:pt x="1631" y="565"/>
                </a:lnTo>
                <a:lnTo>
                  <a:pt x="1658" y="565"/>
                </a:lnTo>
                <a:lnTo>
                  <a:pt x="1881" y="565"/>
                </a:lnTo>
                <a:lnTo>
                  <a:pt x="2078" y="565"/>
                </a:lnTo>
                <a:lnTo>
                  <a:pt x="2248" y="565"/>
                </a:lnTo>
                <a:lnTo>
                  <a:pt x="2393" y="565"/>
                </a:lnTo>
                <a:lnTo>
                  <a:pt x="2517" y="565"/>
                </a:lnTo>
                <a:lnTo>
                  <a:pt x="2620" y="565"/>
                </a:lnTo>
                <a:lnTo>
                  <a:pt x="2704" y="565"/>
                </a:lnTo>
                <a:lnTo>
                  <a:pt x="2772" y="565"/>
                </a:lnTo>
                <a:lnTo>
                  <a:pt x="2824" y="565"/>
                </a:lnTo>
                <a:lnTo>
                  <a:pt x="2864" y="565"/>
                </a:lnTo>
                <a:lnTo>
                  <a:pt x="2892" y="565"/>
                </a:lnTo>
                <a:lnTo>
                  <a:pt x="2912" y="565"/>
                </a:lnTo>
                <a:lnTo>
                  <a:pt x="2923" y="565"/>
                </a:lnTo>
                <a:lnTo>
                  <a:pt x="2929" y="565"/>
                </a:lnTo>
                <a:lnTo>
                  <a:pt x="2931" y="565"/>
                </a:lnTo>
                <a:lnTo>
                  <a:pt x="2931" y="565"/>
                </a:lnTo>
                <a:lnTo>
                  <a:pt x="2957" y="565"/>
                </a:lnTo>
                <a:lnTo>
                  <a:pt x="2957" y="730"/>
                </a:lnTo>
                <a:lnTo>
                  <a:pt x="2957" y="873"/>
                </a:lnTo>
                <a:lnTo>
                  <a:pt x="2957" y="999"/>
                </a:lnTo>
                <a:lnTo>
                  <a:pt x="2957" y="1105"/>
                </a:lnTo>
                <a:lnTo>
                  <a:pt x="2957" y="1195"/>
                </a:lnTo>
                <a:lnTo>
                  <a:pt x="2957" y="1271"/>
                </a:lnTo>
                <a:lnTo>
                  <a:pt x="2957" y="1334"/>
                </a:lnTo>
                <a:lnTo>
                  <a:pt x="2957" y="1382"/>
                </a:lnTo>
                <a:lnTo>
                  <a:pt x="2957" y="1422"/>
                </a:lnTo>
                <a:lnTo>
                  <a:pt x="2957" y="1451"/>
                </a:lnTo>
                <a:lnTo>
                  <a:pt x="2957" y="1472"/>
                </a:lnTo>
                <a:lnTo>
                  <a:pt x="2957" y="1485"/>
                </a:lnTo>
                <a:lnTo>
                  <a:pt x="2957" y="1494"/>
                </a:lnTo>
                <a:lnTo>
                  <a:pt x="2957" y="1497"/>
                </a:lnTo>
                <a:lnTo>
                  <a:pt x="2957" y="1500"/>
                </a:lnTo>
                <a:lnTo>
                  <a:pt x="2957" y="1500"/>
                </a:lnTo>
                <a:lnTo>
                  <a:pt x="2957" y="1508"/>
                </a:lnTo>
                <a:lnTo>
                  <a:pt x="2953" y="1514"/>
                </a:lnTo>
                <a:lnTo>
                  <a:pt x="2949" y="1519"/>
                </a:lnTo>
                <a:lnTo>
                  <a:pt x="2944" y="1523"/>
                </a:lnTo>
                <a:lnTo>
                  <a:pt x="2935" y="1525"/>
                </a:lnTo>
                <a:lnTo>
                  <a:pt x="2931" y="1525"/>
                </a:lnTo>
                <a:lnTo>
                  <a:pt x="2734" y="1525"/>
                </a:lnTo>
                <a:lnTo>
                  <a:pt x="2562" y="1525"/>
                </a:lnTo>
                <a:lnTo>
                  <a:pt x="2413" y="1525"/>
                </a:lnTo>
                <a:lnTo>
                  <a:pt x="2285" y="1525"/>
                </a:lnTo>
                <a:lnTo>
                  <a:pt x="2176" y="1525"/>
                </a:lnTo>
                <a:lnTo>
                  <a:pt x="2086" y="1525"/>
                </a:lnTo>
                <a:lnTo>
                  <a:pt x="2012" y="1525"/>
                </a:lnTo>
                <a:lnTo>
                  <a:pt x="1953" y="1525"/>
                </a:lnTo>
                <a:lnTo>
                  <a:pt x="1906" y="1525"/>
                </a:lnTo>
                <a:lnTo>
                  <a:pt x="1872" y="1525"/>
                </a:lnTo>
                <a:lnTo>
                  <a:pt x="1847" y="1525"/>
                </a:lnTo>
                <a:lnTo>
                  <a:pt x="1831" y="1525"/>
                </a:lnTo>
                <a:lnTo>
                  <a:pt x="1820" y="1525"/>
                </a:lnTo>
                <a:lnTo>
                  <a:pt x="1815" y="1525"/>
                </a:lnTo>
                <a:lnTo>
                  <a:pt x="1813" y="1525"/>
                </a:lnTo>
                <a:lnTo>
                  <a:pt x="1813" y="1525"/>
                </a:lnTo>
                <a:lnTo>
                  <a:pt x="1778" y="1527"/>
                </a:lnTo>
                <a:lnTo>
                  <a:pt x="1732" y="1530"/>
                </a:lnTo>
                <a:lnTo>
                  <a:pt x="1681" y="1534"/>
                </a:lnTo>
                <a:lnTo>
                  <a:pt x="1628" y="1539"/>
                </a:lnTo>
                <a:lnTo>
                  <a:pt x="1580" y="1544"/>
                </a:lnTo>
                <a:lnTo>
                  <a:pt x="1539" y="1547"/>
                </a:lnTo>
                <a:lnTo>
                  <a:pt x="1512" y="1551"/>
                </a:lnTo>
                <a:lnTo>
                  <a:pt x="1501" y="1551"/>
                </a:lnTo>
                <a:lnTo>
                  <a:pt x="1501" y="1578"/>
                </a:lnTo>
                <a:lnTo>
                  <a:pt x="1501" y="1600"/>
                </a:lnTo>
                <a:lnTo>
                  <a:pt x="1501" y="1604"/>
                </a:lnTo>
                <a:lnTo>
                  <a:pt x="1502" y="1613"/>
                </a:lnTo>
                <a:lnTo>
                  <a:pt x="1502" y="1622"/>
                </a:lnTo>
                <a:lnTo>
                  <a:pt x="1503" y="1631"/>
                </a:lnTo>
                <a:lnTo>
                  <a:pt x="1506" y="1638"/>
                </a:lnTo>
                <a:lnTo>
                  <a:pt x="1508" y="1645"/>
                </a:lnTo>
                <a:lnTo>
                  <a:pt x="1511" y="1651"/>
                </a:lnTo>
                <a:lnTo>
                  <a:pt x="1514" y="1657"/>
                </a:lnTo>
                <a:lnTo>
                  <a:pt x="1518" y="1662"/>
                </a:lnTo>
                <a:lnTo>
                  <a:pt x="1522" y="1666"/>
                </a:lnTo>
                <a:lnTo>
                  <a:pt x="1525" y="1671"/>
                </a:lnTo>
                <a:lnTo>
                  <a:pt x="1530" y="1673"/>
                </a:lnTo>
                <a:lnTo>
                  <a:pt x="1534" y="1677"/>
                </a:lnTo>
                <a:lnTo>
                  <a:pt x="1539" y="1678"/>
                </a:lnTo>
                <a:lnTo>
                  <a:pt x="1543" y="1681"/>
                </a:lnTo>
                <a:lnTo>
                  <a:pt x="1548" y="1681"/>
                </a:lnTo>
                <a:lnTo>
                  <a:pt x="1553" y="1682"/>
                </a:lnTo>
                <a:lnTo>
                  <a:pt x="1814" y="1682"/>
                </a:lnTo>
                <a:lnTo>
                  <a:pt x="2042" y="1682"/>
                </a:lnTo>
                <a:lnTo>
                  <a:pt x="2240" y="1682"/>
                </a:lnTo>
                <a:lnTo>
                  <a:pt x="2410" y="1682"/>
                </a:lnTo>
                <a:lnTo>
                  <a:pt x="2553" y="1682"/>
                </a:lnTo>
                <a:lnTo>
                  <a:pt x="2674" y="1682"/>
                </a:lnTo>
                <a:lnTo>
                  <a:pt x="2771" y="1682"/>
                </a:lnTo>
                <a:lnTo>
                  <a:pt x="2850" y="1682"/>
                </a:lnTo>
                <a:lnTo>
                  <a:pt x="2910" y="1682"/>
                </a:lnTo>
                <a:lnTo>
                  <a:pt x="2957" y="1682"/>
                </a:lnTo>
                <a:lnTo>
                  <a:pt x="2989" y="1682"/>
                </a:lnTo>
                <a:lnTo>
                  <a:pt x="3012" y="1682"/>
                </a:lnTo>
                <a:lnTo>
                  <a:pt x="3026" y="1682"/>
                </a:lnTo>
                <a:lnTo>
                  <a:pt x="3032" y="1682"/>
                </a:lnTo>
                <a:lnTo>
                  <a:pt x="3034" y="1682"/>
                </a:lnTo>
                <a:lnTo>
                  <a:pt x="3035" y="1682"/>
                </a:lnTo>
                <a:lnTo>
                  <a:pt x="3040" y="1681"/>
                </a:lnTo>
                <a:lnTo>
                  <a:pt x="3045" y="1681"/>
                </a:lnTo>
                <a:lnTo>
                  <a:pt x="3050" y="1678"/>
                </a:lnTo>
                <a:lnTo>
                  <a:pt x="3054" y="1677"/>
                </a:lnTo>
                <a:lnTo>
                  <a:pt x="3058" y="1673"/>
                </a:lnTo>
                <a:lnTo>
                  <a:pt x="3063" y="1671"/>
                </a:lnTo>
                <a:lnTo>
                  <a:pt x="3067" y="1666"/>
                </a:lnTo>
                <a:lnTo>
                  <a:pt x="3071" y="1662"/>
                </a:lnTo>
                <a:lnTo>
                  <a:pt x="3074" y="1657"/>
                </a:lnTo>
                <a:lnTo>
                  <a:pt x="3078" y="1651"/>
                </a:lnTo>
                <a:lnTo>
                  <a:pt x="3080" y="1645"/>
                </a:lnTo>
                <a:lnTo>
                  <a:pt x="3083" y="1638"/>
                </a:lnTo>
                <a:lnTo>
                  <a:pt x="3086" y="1622"/>
                </a:lnTo>
                <a:lnTo>
                  <a:pt x="3086" y="1604"/>
                </a:lnTo>
                <a:lnTo>
                  <a:pt x="3086" y="1580"/>
                </a:lnTo>
                <a:lnTo>
                  <a:pt x="3086" y="1578"/>
                </a:lnTo>
                <a:lnTo>
                  <a:pt x="3086" y="1568"/>
                </a:lnTo>
                <a:lnTo>
                  <a:pt x="3086" y="1558"/>
                </a:lnTo>
                <a:lnTo>
                  <a:pt x="3085" y="1550"/>
                </a:lnTo>
                <a:lnTo>
                  <a:pt x="3084" y="1541"/>
                </a:lnTo>
                <a:lnTo>
                  <a:pt x="3080" y="1535"/>
                </a:lnTo>
                <a:lnTo>
                  <a:pt x="3075" y="1530"/>
                </a:lnTo>
                <a:lnTo>
                  <a:pt x="3073" y="1528"/>
                </a:lnTo>
                <a:lnTo>
                  <a:pt x="3069" y="1527"/>
                </a:lnTo>
                <a:lnTo>
                  <a:pt x="3066" y="1525"/>
                </a:lnTo>
                <a:lnTo>
                  <a:pt x="3061" y="1525"/>
                </a:lnTo>
                <a:lnTo>
                  <a:pt x="3035" y="1525"/>
                </a:lnTo>
                <a:lnTo>
                  <a:pt x="3035" y="1357"/>
                </a:lnTo>
                <a:lnTo>
                  <a:pt x="3035" y="1209"/>
                </a:lnTo>
                <a:lnTo>
                  <a:pt x="3035" y="1080"/>
                </a:lnTo>
                <a:lnTo>
                  <a:pt x="3035" y="970"/>
                </a:lnTo>
                <a:lnTo>
                  <a:pt x="3035" y="876"/>
                </a:lnTo>
                <a:lnTo>
                  <a:pt x="3035" y="799"/>
                </a:lnTo>
                <a:lnTo>
                  <a:pt x="3035" y="736"/>
                </a:lnTo>
                <a:lnTo>
                  <a:pt x="3035" y="684"/>
                </a:lnTo>
                <a:lnTo>
                  <a:pt x="3035" y="645"/>
                </a:lnTo>
                <a:lnTo>
                  <a:pt x="3035" y="615"/>
                </a:lnTo>
                <a:lnTo>
                  <a:pt x="3035" y="594"/>
                </a:lnTo>
                <a:lnTo>
                  <a:pt x="3035" y="579"/>
                </a:lnTo>
                <a:lnTo>
                  <a:pt x="3035" y="571"/>
                </a:lnTo>
                <a:lnTo>
                  <a:pt x="3035" y="567"/>
                </a:lnTo>
                <a:lnTo>
                  <a:pt x="3035" y="565"/>
                </a:lnTo>
                <a:lnTo>
                  <a:pt x="3035" y="565"/>
                </a:lnTo>
                <a:lnTo>
                  <a:pt x="3061" y="565"/>
                </a:lnTo>
                <a:close/>
                <a:moveTo>
                  <a:pt x="768" y="1261"/>
                </a:moveTo>
                <a:lnTo>
                  <a:pt x="708" y="1323"/>
                </a:lnTo>
                <a:lnTo>
                  <a:pt x="677" y="1353"/>
                </a:lnTo>
                <a:lnTo>
                  <a:pt x="666" y="1365"/>
                </a:lnTo>
                <a:lnTo>
                  <a:pt x="663" y="1367"/>
                </a:lnTo>
                <a:lnTo>
                  <a:pt x="638" y="1367"/>
                </a:lnTo>
                <a:lnTo>
                  <a:pt x="563" y="1305"/>
                </a:lnTo>
                <a:lnTo>
                  <a:pt x="524" y="1275"/>
                </a:lnTo>
                <a:lnTo>
                  <a:pt x="509" y="1263"/>
                </a:lnTo>
                <a:lnTo>
                  <a:pt x="507" y="1261"/>
                </a:lnTo>
                <a:lnTo>
                  <a:pt x="507" y="1256"/>
                </a:lnTo>
                <a:lnTo>
                  <a:pt x="507" y="1245"/>
                </a:lnTo>
                <a:lnTo>
                  <a:pt x="507" y="1228"/>
                </a:lnTo>
                <a:lnTo>
                  <a:pt x="507" y="1209"/>
                </a:lnTo>
                <a:lnTo>
                  <a:pt x="525" y="1122"/>
                </a:lnTo>
                <a:lnTo>
                  <a:pt x="537" y="1057"/>
                </a:lnTo>
                <a:lnTo>
                  <a:pt x="547" y="1011"/>
                </a:lnTo>
                <a:lnTo>
                  <a:pt x="553" y="979"/>
                </a:lnTo>
                <a:lnTo>
                  <a:pt x="556" y="959"/>
                </a:lnTo>
                <a:lnTo>
                  <a:pt x="559" y="950"/>
                </a:lnTo>
                <a:lnTo>
                  <a:pt x="559" y="947"/>
                </a:lnTo>
                <a:lnTo>
                  <a:pt x="559" y="946"/>
                </a:lnTo>
                <a:lnTo>
                  <a:pt x="559" y="926"/>
                </a:lnTo>
                <a:lnTo>
                  <a:pt x="559" y="910"/>
                </a:lnTo>
                <a:lnTo>
                  <a:pt x="559" y="898"/>
                </a:lnTo>
                <a:lnTo>
                  <a:pt x="559" y="893"/>
                </a:lnTo>
                <a:lnTo>
                  <a:pt x="559" y="885"/>
                </a:lnTo>
                <a:lnTo>
                  <a:pt x="560" y="879"/>
                </a:lnTo>
                <a:lnTo>
                  <a:pt x="561" y="874"/>
                </a:lnTo>
                <a:lnTo>
                  <a:pt x="563" y="870"/>
                </a:lnTo>
                <a:lnTo>
                  <a:pt x="566" y="869"/>
                </a:lnTo>
                <a:lnTo>
                  <a:pt x="570" y="868"/>
                </a:lnTo>
                <a:lnTo>
                  <a:pt x="577" y="868"/>
                </a:lnTo>
                <a:lnTo>
                  <a:pt x="586" y="868"/>
                </a:lnTo>
                <a:lnTo>
                  <a:pt x="661" y="868"/>
                </a:lnTo>
                <a:lnTo>
                  <a:pt x="700" y="868"/>
                </a:lnTo>
                <a:lnTo>
                  <a:pt x="714" y="868"/>
                </a:lnTo>
                <a:lnTo>
                  <a:pt x="715" y="868"/>
                </a:lnTo>
                <a:lnTo>
                  <a:pt x="715" y="870"/>
                </a:lnTo>
                <a:lnTo>
                  <a:pt x="715" y="893"/>
                </a:lnTo>
                <a:lnTo>
                  <a:pt x="715" y="898"/>
                </a:lnTo>
                <a:lnTo>
                  <a:pt x="715" y="910"/>
                </a:lnTo>
                <a:lnTo>
                  <a:pt x="715" y="926"/>
                </a:lnTo>
                <a:lnTo>
                  <a:pt x="715" y="946"/>
                </a:lnTo>
                <a:lnTo>
                  <a:pt x="734" y="1033"/>
                </a:lnTo>
                <a:lnTo>
                  <a:pt x="746" y="1098"/>
                </a:lnTo>
                <a:lnTo>
                  <a:pt x="756" y="1145"/>
                </a:lnTo>
                <a:lnTo>
                  <a:pt x="762" y="1176"/>
                </a:lnTo>
                <a:lnTo>
                  <a:pt x="765" y="1195"/>
                </a:lnTo>
                <a:lnTo>
                  <a:pt x="768" y="1205"/>
                </a:lnTo>
                <a:lnTo>
                  <a:pt x="768" y="1209"/>
                </a:lnTo>
                <a:lnTo>
                  <a:pt x="768" y="1209"/>
                </a:lnTo>
                <a:lnTo>
                  <a:pt x="773" y="1214"/>
                </a:lnTo>
                <a:lnTo>
                  <a:pt x="776" y="1219"/>
                </a:lnTo>
                <a:lnTo>
                  <a:pt x="777" y="1223"/>
                </a:lnTo>
                <a:lnTo>
                  <a:pt x="779" y="1228"/>
                </a:lnTo>
                <a:lnTo>
                  <a:pt x="780" y="1237"/>
                </a:lnTo>
                <a:lnTo>
                  <a:pt x="777" y="1245"/>
                </a:lnTo>
                <a:lnTo>
                  <a:pt x="771" y="1256"/>
                </a:lnTo>
                <a:lnTo>
                  <a:pt x="768" y="1261"/>
                </a:lnTo>
                <a:close/>
                <a:moveTo>
                  <a:pt x="365" y="364"/>
                </a:moveTo>
                <a:lnTo>
                  <a:pt x="366" y="349"/>
                </a:lnTo>
                <a:lnTo>
                  <a:pt x="367" y="333"/>
                </a:lnTo>
                <a:lnTo>
                  <a:pt x="368" y="319"/>
                </a:lnTo>
                <a:lnTo>
                  <a:pt x="371" y="304"/>
                </a:lnTo>
                <a:lnTo>
                  <a:pt x="374" y="289"/>
                </a:lnTo>
                <a:lnTo>
                  <a:pt x="378" y="276"/>
                </a:lnTo>
                <a:lnTo>
                  <a:pt x="383" y="263"/>
                </a:lnTo>
                <a:lnTo>
                  <a:pt x="389" y="248"/>
                </a:lnTo>
                <a:lnTo>
                  <a:pt x="395" y="236"/>
                </a:lnTo>
                <a:lnTo>
                  <a:pt x="401" y="222"/>
                </a:lnTo>
                <a:lnTo>
                  <a:pt x="408" y="210"/>
                </a:lnTo>
                <a:lnTo>
                  <a:pt x="416" y="198"/>
                </a:lnTo>
                <a:lnTo>
                  <a:pt x="424" y="187"/>
                </a:lnTo>
                <a:lnTo>
                  <a:pt x="433" y="175"/>
                </a:lnTo>
                <a:lnTo>
                  <a:pt x="442" y="163"/>
                </a:lnTo>
                <a:lnTo>
                  <a:pt x="452" y="154"/>
                </a:lnTo>
                <a:lnTo>
                  <a:pt x="463" y="144"/>
                </a:lnTo>
                <a:lnTo>
                  <a:pt x="474" y="134"/>
                </a:lnTo>
                <a:lnTo>
                  <a:pt x="485" y="126"/>
                </a:lnTo>
                <a:lnTo>
                  <a:pt x="496" y="117"/>
                </a:lnTo>
                <a:lnTo>
                  <a:pt x="508" y="110"/>
                </a:lnTo>
                <a:lnTo>
                  <a:pt x="521" y="102"/>
                </a:lnTo>
                <a:lnTo>
                  <a:pt x="533" y="96"/>
                </a:lnTo>
                <a:lnTo>
                  <a:pt x="547" y="90"/>
                </a:lnTo>
                <a:lnTo>
                  <a:pt x="560" y="84"/>
                </a:lnTo>
                <a:lnTo>
                  <a:pt x="575" y="80"/>
                </a:lnTo>
                <a:lnTo>
                  <a:pt x="588" y="75"/>
                </a:lnTo>
                <a:lnTo>
                  <a:pt x="603" y="73"/>
                </a:lnTo>
                <a:lnTo>
                  <a:pt x="617" y="69"/>
                </a:lnTo>
                <a:lnTo>
                  <a:pt x="633" y="68"/>
                </a:lnTo>
                <a:lnTo>
                  <a:pt x="647" y="67"/>
                </a:lnTo>
                <a:lnTo>
                  <a:pt x="663" y="67"/>
                </a:lnTo>
                <a:lnTo>
                  <a:pt x="678" y="67"/>
                </a:lnTo>
                <a:lnTo>
                  <a:pt x="694" y="68"/>
                </a:lnTo>
                <a:lnTo>
                  <a:pt x="708" y="69"/>
                </a:lnTo>
                <a:lnTo>
                  <a:pt x="723" y="73"/>
                </a:lnTo>
                <a:lnTo>
                  <a:pt x="737" y="75"/>
                </a:lnTo>
                <a:lnTo>
                  <a:pt x="752" y="80"/>
                </a:lnTo>
                <a:lnTo>
                  <a:pt x="765" y="84"/>
                </a:lnTo>
                <a:lnTo>
                  <a:pt x="779" y="90"/>
                </a:lnTo>
                <a:lnTo>
                  <a:pt x="792" y="96"/>
                </a:lnTo>
                <a:lnTo>
                  <a:pt x="805" y="102"/>
                </a:lnTo>
                <a:lnTo>
                  <a:pt x="817" y="110"/>
                </a:lnTo>
                <a:lnTo>
                  <a:pt x="830" y="117"/>
                </a:lnTo>
                <a:lnTo>
                  <a:pt x="841" y="126"/>
                </a:lnTo>
                <a:lnTo>
                  <a:pt x="853" y="134"/>
                </a:lnTo>
                <a:lnTo>
                  <a:pt x="864" y="144"/>
                </a:lnTo>
                <a:lnTo>
                  <a:pt x="873" y="154"/>
                </a:lnTo>
                <a:lnTo>
                  <a:pt x="883" y="163"/>
                </a:lnTo>
                <a:lnTo>
                  <a:pt x="893" y="175"/>
                </a:lnTo>
                <a:lnTo>
                  <a:pt x="901" y="187"/>
                </a:lnTo>
                <a:lnTo>
                  <a:pt x="910" y="198"/>
                </a:lnTo>
                <a:lnTo>
                  <a:pt x="917" y="210"/>
                </a:lnTo>
                <a:lnTo>
                  <a:pt x="924" y="222"/>
                </a:lnTo>
                <a:lnTo>
                  <a:pt x="932" y="236"/>
                </a:lnTo>
                <a:lnTo>
                  <a:pt x="938" y="248"/>
                </a:lnTo>
                <a:lnTo>
                  <a:pt x="942" y="263"/>
                </a:lnTo>
                <a:lnTo>
                  <a:pt x="947" y="276"/>
                </a:lnTo>
                <a:lnTo>
                  <a:pt x="951" y="289"/>
                </a:lnTo>
                <a:lnTo>
                  <a:pt x="955" y="304"/>
                </a:lnTo>
                <a:lnTo>
                  <a:pt x="957" y="319"/>
                </a:lnTo>
                <a:lnTo>
                  <a:pt x="959" y="333"/>
                </a:lnTo>
                <a:lnTo>
                  <a:pt x="961" y="349"/>
                </a:lnTo>
                <a:lnTo>
                  <a:pt x="961" y="364"/>
                </a:lnTo>
                <a:lnTo>
                  <a:pt x="961" y="380"/>
                </a:lnTo>
                <a:lnTo>
                  <a:pt x="959" y="395"/>
                </a:lnTo>
                <a:lnTo>
                  <a:pt x="957" y="409"/>
                </a:lnTo>
                <a:lnTo>
                  <a:pt x="955" y="424"/>
                </a:lnTo>
                <a:lnTo>
                  <a:pt x="951" y="439"/>
                </a:lnTo>
                <a:lnTo>
                  <a:pt x="947" y="453"/>
                </a:lnTo>
                <a:lnTo>
                  <a:pt x="942" y="467"/>
                </a:lnTo>
                <a:lnTo>
                  <a:pt x="938" y="480"/>
                </a:lnTo>
                <a:lnTo>
                  <a:pt x="932" y="494"/>
                </a:lnTo>
                <a:lnTo>
                  <a:pt x="924" y="507"/>
                </a:lnTo>
                <a:lnTo>
                  <a:pt x="917" y="519"/>
                </a:lnTo>
                <a:lnTo>
                  <a:pt x="910" y="531"/>
                </a:lnTo>
                <a:lnTo>
                  <a:pt x="901" y="542"/>
                </a:lnTo>
                <a:lnTo>
                  <a:pt x="893" y="554"/>
                </a:lnTo>
                <a:lnTo>
                  <a:pt x="883" y="565"/>
                </a:lnTo>
                <a:lnTo>
                  <a:pt x="873" y="576"/>
                </a:lnTo>
                <a:lnTo>
                  <a:pt x="864" y="585"/>
                </a:lnTo>
                <a:lnTo>
                  <a:pt x="853" y="594"/>
                </a:lnTo>
                <a:lnTo>
                  <a:pt x="841" y="604"/>
                </a:lnTo>
                <a:lnTo>
                  <a:pt x="830" y="611"/>
                </a:lnTo>
                <a:lnTo>
                  <a:pt x="817" y="620"/>
                </a:lnTo>
                <a:lnTo>
                  <a:pt x="805" y="627"/>
                </a:lnTo>
                <a:lnTo>
                  <a:pt x="792" y="633"/>
                </a:lnTo>
                <a:lnTo>
                  <a:pt x="779" y="639"/>
                </a:lnTo>
                <a:lnTo>
                  <a:pt x="765" y="644"/>
                </a:lnTo>
                <a:lnTo>
                  <a:pt x="752" y="649"/>
                </a:lnTo>
                <a:lnTo>
                  <a:pt x="737" y="653"/>
                </a:lnTo>
                <a:lnTo>
                  <a:pt x="723" y="656"/>
                </a:lnTo>
                <a:lnTo>
                  <a:pt x="708" y="659"/>
                </a:lnTo>
                <a:lnTo>
                  <a:pt x="694" y="661"/>
                </a:lnTo>
                <a:lnTo>
                  <a:pt x="678" y="662"/>
                </a:lnTo>
                <a:lnTo>
                  <a:pt x="663" y="662"/>
                </a:lnTo>
                <a:lnTo>
                  <a:pt x="647" y="662"/>
                </a:lnTo>
                <a:lnTo>
                  <a:pt x="633" y="661"/>
                </a:lnTo>
                <a:lnTo>
                  <a:pt x="617" y="659"/>
                </a:lnTo>
                <a:lnTo>
                  <a:pt x="603" y="656"/>
                </a:lnTo>
                <a:lnTo>
                  <a:pt x="588" y="653"/>
                </a:lnTo>
                <a:lnTo>
                  <a:pt x="575" y="649"/>
                </a:lnTo>
                <a:lnTo>
                  <a:pt x="560" y="644"/>
                </a:lnTo>
                <a:lnTo>
                  <a:pt x="547" y="639"/>
                </a:lnTo>
                <a:lnTo>
                  <a:pt x="533" y="633"/>
                </a:lnTo>
                <a:lnTo>
                  <a:pt x="521" y="627"/>
                </a:lnTo>
                <a:lnTo>
                  <a:pt x="508" y="620"/>
                </a:lnTo>
                <a:lnTo>
                  <a:pt x="496" y="611"/>
                </a:lnTo>
                <a:lnTo>
                  <a:pt x="485" y="604"/>
                </a:lnTo>
                <a:lnTo>
                  <a:pt x="474" y="594"/>
                </a:lnTo>
                <a:lnTo>
                  <a:pt x="463" y="585"/>
                </a:lnTo>
                <a:lnTo>
                  <a:pt x="452" y="576"/>
                </a:lnTo>
                <a:lnTo>
                  <a:pt x="442" y="565"/>
                </a:lnTo>
                <a:lnTo>
                  <a:pt x="433" y="554"/>
                </a:lnTo>
                <a:lnTo>
                  <a:pt x="424" y="542"/>
                </a:lnTo>
                <a:lnTo>
                  <a:pt x="416" y="531"/>
                </a:lnTo>
                <a:lnTo>
                  <a:pt x="408" y="519"/>
                </a:lnTo>
                <a:lnTo>
                  <a:pt x="401" y="507"/>
                </a:lnTo>
                <a:lnTo>
                  <a:pt x="395" y="494"/>
                </a:lnTo>
                <a:lnTo>
                  <a:pt x="389" y="480"/>
                </a:lnTo>
                <a:lnTo>
                  <a:pt x="383" y="467"/>
                </a:lnTo>
                <a:lnTo>
                  <a:pt x="378" y="453"/>
                </a:lnTo>
                <a:lnTo>
                  <a:pt x="374" y="439"/>
                </a:lnTo>
                <a:lnTo>
                  <a:pt x="371" y="424"/>
                </a:lnTo>
                <a:lnTo>
                  <a:pt x="368" y="409"/>
                </a:lnTo>
                <a:lnTo>
                  <a:pt x="367" y="395"/>
                </a:lnTo>
                <a:lnTo>
                  <a:pt x="366" y="380"/>
                </a:lnTo>
                <a:lnTo>
                  <a:pt x="365" y="364"/>
                </a:lnTo>
                <a:close/>
              </a:path>
            </a:pathLst>
          </a:custGeom>
          <a:solidFill>
            <a:srgbClr val="833E90"/>
          </a:solidFill>
          <a:ln>
            <a:noFill/>
          </a:ln>
        </p:spPr>
        <p:txBody>
          <a:bodyPr vert="horz" wrap="square" lIns="45713" tIns="22856" rIns="45713" bIns="22856" numCol="1" anchor="t" anchorCtr="0" compatLnSpc="1">
            <a:prstTxWarp prst="textNoShape">
              <a:avLst/>
            </a:prstTxWarp>
          </a:bodyPr>
          <a:lstStyle/>
          <a:p>
            <a:endParaRPr lang="ru-RU" sz="1600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6" name="Freeform 10"/>
          <p:cNvSpPr>
            <a:spLocks noEditPoints="1"/>
          </p:cNvSpPr>
          <p:nvPr/>
        </p:nvSpPr>
        <p:spPr bwMode="auto">
          <a:xfrm>
            <a:off x="5935988" y="2111104"/>
            <a:ext cx="1236472" cy="1030922"/>
          </a:xfrm>
          <a:custGeom>
            <a:avLst/>
            <a:gdLst>
              <a:gd name="T0" fmla="*/ 439 w 3115"/>
              <a:gd name="T1" fmla="*/ 998 h 2598"/>
              <a:gd name="T2" fmla="*/ 439 w 3115"/>
              <a:gd name="T3" fmla="*/ 527 h 2598"/>
              <a:gd name="T4" fmla="*/ 1543 w 3115"/>
              <a:gd name="T5" fmla="*/ 786 h 2598"/>
              <a:gd name="T6" fmla="*/ 1511 w 3115"/>
              <a:gd name="T7" fmla="*/ 912 h 2598"/>
              <a:gd name="T8" fmla="*/ 1793 w 3115"/>
              <a:gd name="T9" fmla="*/ 806 h 2598"/>
              <a:gd name="T10" fmla="*/ 1688 w 3115"/>
              <a:gd name="T11" fmla="*/ 869 h 2598"/>
              <a:gd name="T12" fmla="*/ 2017 w 3115"/>
              <a:gd name="T13" fmla="*/ 839 h 2598"/>
              <a:gd name="T14" fmla="*/ 1889 w 3115"/>
              <a:gd name="T15" fmla="*/ 839 h 2598"/>
              <a:gd name="T16" fmla="*/ 1258 w 3115"/>
              <a:gd name="T17" fmla="*/ 1164 h 2598"/>
              <a:gd name="T18" fmla="*/ 2216 w 3115"/>
              <a:gd name="T19" fmla="*/ 1174 h 2598"/>
              <a:gd name="T20" fmla="*/ 2233 w 3115"/>
              <a:gd name="T21" fmla="*/ 568 h 2598"/>
              <a:gd name="T22" fmla="*/ 1288 w 3115"/>
              <a:gd name="T23" fmla="*/ 550 h 2598"/>
              <a:gd name="T24" fmla="*/ 1212 w 3115"/>
              <a:gd name="T25" fmla="*/ 299 h 2598"/>
              <a:gd name="T26" fmla="*/ 1089 w 3115"/>
              <a:gd name="T27" fmla="*/ 262 h 2598"/>
              <a:gd name="T28" fmla="*/ 1407 w 3115"/>
              <a:gd name="T29" fmla="*/ 334 h 2598"/>
              <a:gd name="T30" fmla="*/ 1342 w 3115"/>
              <a:gd name="T31" fmla="*/ 224 h 2598"/>
              <a:gd name="T32" fmla="*/ 1577 w 3115"/>
              <a:gd name="T33" fmla="*/ 350 h 2598"/>
              <a:gd name="T34" fmla="*/ 942 w 3115"/>
              <a:gd name="T35" fmla="*/ 627 h 2598"/>
              <a:gd name="T36" fmla="*/ 1222 w 3115"/>
              <a:gd name="T37" fmla="*/ 510 h 2598"/>
              <a:gd name="T38" fmla="*/ 1852 w 3115"/>
              <a:gd name="T39" fmla="*/ 30 h 2598"/>
              <a:gd name="T40" fmla="*/ 894 w 3115"/>
              <a:gd name="T41" fmla="*/ 6 h 2598"/>
              <a:gd name="T42" fmla="*/ 913 w 3115"/>
              <a:gd name="T43" fmla="*/ 627 h 2598"/>
              <a:gd name="T44" fmla="*/ 1107 w 3115"/>
              <a:gd name="T45" fmla="*/ 1555 h 2598"/>
              <a:gd name="T46" fmla="*/ 939 w 3115"/>
              <a:gd name="T47" fmla="*/ 1681 h 2598"/>
              <a:gd name="T48" fmla="*/ 1740 w 3115"/>
              <a:gd name="T49" fmla="*/ 2543 h 2598"/>
              <a:gd name="T50" fmla="*/ 2128 w 3115"/>
              <a:gd name="T51" fmla="*/ 1696 h 2598"/>
              <a:gd name="T52" fmla="*/ 3057 w 3115"/>
              <a:gd name="T53" fmla="*/ 1127 h 2598"/>
              <a:gd name="T54" fmla="*/ 2930 w 3115"/>
              <a:gd name="T55" fmla="*/ 1965 h 2598"/>
              <a:gd name="T56" fmla="*/ 2374 w 3115"/>
              <a:gd name="T57" fmla="*/ 2086 h 2598"/>
              <a:gd name="T58" fmla="*/ 2403 w 3115"/>
              <a:gd name="T59" fmla="*/ 2554 h 2598"/>
              <a:gd name="T60" fmla="*/ 2548 w 3115"/>
              <a:gd name="T61" fmla="*/ 2516 h 2598"/>
              <a:gd name="T62" fmla="*/ 2871 w 3115"/>
              <a:gd name="T63" fmla="*/ 2187 h 2598"/>
              <a:gd name="T64" fmla="*/ 2953 w 3115"/>
              <a:gd name="T65" fmla="*/ 2560 h 2598"/>
              <a:gd name="T66" fmla="*/ 3100 w 3115"/>
              <a:gd name="T67" fmla="*/ 2429 h 2598"/>
              <a:gd name="T68" fmla="*/ 2754 w 3115"/>
              <a:gd name="T69" fmla="*/ 1912 h 2598"/>
              <a:gd name="T70" fmla="*/ 2867 w 3115"/>
              <a:gd name="T71" fmla="*/ 1137 h 2598"/>
              <a:gd name="T72" fmla="*/ 2480 w 3115"/>
              <a:gd name="T73" fmla="*/ 1088 h 2598"/>
              <a:gd name="T74" fmla="*/ 2134 w 3115"/>
              <a:gd name="T75" fmla="*/ 1341 h 2598"/>
              <a:gd name="T76" fmla="*/ 1958 w 3115"/>
              <a:gd name="T77" fmla="*/ 1450 h 2598"/>
              <a:gd name="T78" fmla="*/ 2386 w 3115"/>
              <a:gd name="T79" fmla="*/ 1480 h 2598"/>
              <a:gd name="T80" fmla="*/ 2164 w 3115"/>
              <a:gd name="T81" fmla="*/ 1746 h 2598"/>
              <a:gd name="T82" fmla="*/ 2118 w 3115"/>
              <a:gd name="T83" fmla="*/ 2566 h 2598"/>
              <a:gd name="T84" fmla="*/ 2346 w 3115"/>
              <a:gd name="T85" fmla="*/ 1941 h 2598"/>
              <a:gd name="T86" fmla="*/ 2654 w 3115"/>
              <a:gd name="T87" fmla="*/ 1004 h 2598"/>
              <a:gd name="T88" fmla="*/ 2360 w 3115"/>
              <a:gd name="T89" fmla="*/ 751 h 2598"/>
              <a:gd name="T90" fmla="*/ 2699 w 3115"/>
              <a:gd name="T91" fmla="*/ 535 h 2598"/>
              <a:gd name="T92" fmla="*/ 669 w 3115"/>
              <a:gd name="T93" fmla="*/ 1967 h 2598"/>
              <a:gd name="T94" fmla="*/ 153 w 3115"/>
              <a:gd name="T95" fmla="*/ 1141 h 2598"/>
              <a:gd name="T96" fmla="*/ 0 w 3115"/>
              <a:gd name="T97" fmla="*/ 1950 h 2598"/>
              <a:gd name="T98" fmla="*/ 16 w 3115"/>
              <a:gd name="T99" fmla="*/ 2523 h 2598"/>
              <a:gd name="T100" fmla="*/ 171 w 3115"/>
              <a:gd name="T101" fmla="*/ 2547 h 2598"/>
              <a:gd name="T102" fmla="*/ 440 w 3115"/>
              <a:gd name="T103" fmla="*/ 2187 h 2598"/>
              <a:gd name="T104" fmla="*/ 568 w 3115"/>
              <a:gd name="T105" fmla="*/ 2532 h 2598"/>
              <a:gd name="T106" fmla="*/ 718 w 3115"/>
              <a:gd name="T107" fmla="*/ 2539 h 2598"/>
              <a:gd name="T108" fmla="*/ 746 w 3115"/>
              <a:gd name="T109" fmla="*/ 2056 h 2598"/>
              <a:gd name="T110" fmla="*/ 680 w 3115"/>
              <a:gd name="T111" fmla="*/ 1555 h 2598"/>
              <a:gd name="T112" fmla="*/ 1082 w 3115"/>
              <a:gd name="T113" fmla="*/ 1502 h 2598"/>
              <a:gd name="T114" fmla="*/ 1099 w 3115"/>
              <a:gd name="T115" fmla="*/ 1311 h 2598"/>
              <a:gd name="T116" fmla="*/ 735 w 3115"/>
              <a:gd name="T117" fmla="*/ 1231 h 2598"/>
              <a:gd name="T118" fmla="*/ 344 w 3115"/>
              <a:gd name="T119" fmla="*/ 1045 h 2598"/>
              <a:gd name="T120" fmla="*/ 250 w 3115"/>
              <a:gd name="T121" fmla="*/ 1813 h 2598"/>
              <a:gd name="T122" fmla="*/ 826 w 3115"/>
              <a:gd name="T123" fmla="*/ 2413 h 2598"/>
              <a:gd name="T124" fmla="*/ 1016 w 3115"/>
              <a:gd name="T125" fmla="*/ 2555 h 2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115" h="2598">
                <a:moveTo>
                  <a:pt x="755" y="763"/>
                </a:moveTo>
                <a:lnTo>
                  <a:pt x="754" y="787"/>
                </a:lnTo>
                <a:lnTo>
                  <a:pt x="751" y="810"/>
                </a:lnTo>
                <a:lnTo>
                  <a:pt x="744" y="834"/>
                </a:lnTo>
                <a:lnTo>
                  <a:pt x="736" y="857"/>
                </a:lnTo>
                <a:lnTo>
                  <a:pt x="726" y="878"/>
                </a:lnTo>
                <a:lnTo>
                  <a:pt x="714" y="898"/>
                </a:lnTo>
                <a:lnTo>
                  <a:pt x="700" y="918"/>
                </a:lnTo>
                <a:lnTo>
                  <a:pt x="684" y="935"/>
                </a:lnTo>
                <a:lnTo>
                  <a:pt x="667" y="951"/>
                </a:lnTo>
                <a:lnTo>
                  <a:pt x="649" y="966"/>
                </a:lnTo>
                <a:lnTo>
                  <a:pt x="628" y="979"/>
                </a:lnTo>
                <a:lnTo>
                  <a:pt x="606" y="989"/>
                </a:lnTo>
                <a:lnTo>
                  <a:pt x="595" y="994"/>
                </a:lnTo>
                <a:lnTo>
                  <a:pt x="583" y="998"/>
                </a:lnTo>
                <a:lnTo>
                  <a:pt x="572" y="1001"/>
                </a:lnTo>
                <a:lnTo>
                  <a:pt x="560" y="1004"/>
                </a:lnTo>
                <a:lnTo>
                  <a:pt x="547" y="1006"/>
                </a:lnTo>
                <a:lnTo>
                  <a:pt x="534" y="1009"/>
                </a:lnTo>
                <a:lnTo>
                  <a:pt x="522" y="1009"/>
                </a:lnTo>
                <a:lnTo>
                  <a:pt x="509" y="1010"/>
                </a:lnTo>
                <a:lnTo>
                  <a:pt x="497" y="1009"/>
                </a:lnTo>
                <a:lnTo>
                  <a:pt x="485" y="1009"/>
                </a:lnTo>
                <a:lnTo>
                  <a:pt x="473" y="1006"/>
                </a:lnTo>
                <a:lnTo>
                  <a:pt x="460" y="1004"/>
                </a:lnTo>
                <a:lnTo>
                  <a:pt x="449" y="1001"/>
                </a:lnTo>
                <a:lnTo>
                  <a:pt x="439" y="998"/>
                </a:lnTo>
                <a:lnTo>
                  <a:pt x="428" y="994"/>
                </a:lnTo>
                <a:lnTo>
                  <a:pt x="417" y="989"/>
                </a:lnTo>
                <a:lnTo>
                  <a:pt x="396" y="979"/>
                </a:lnTo>
                <a:lnTo>
                  <a:pt x="375" y="966"/>
                </a:lnTo>
                <a:lnTo>
                  <a:pt x="357" y="951"/>
                </a:lnTo>
                <a:lnTo>
                  <a:pt x="340" y="935"/>
                </a:lnTo>
                <a:lnTo>
                  <a:pt x="326" y="918"/>
                </a:lnTo>
                <a:lnTo>
                  <a:pt x="311" y="898"/>
                </a:lnTo>
                <a:lnTo>
                  <a:pt x="300" y="878"/>
                </a:lnTo>
                <a:lnTo>
                  <a:pt x="289" y="857"/>
                </a:lnTo>
                <a:lnTo>
                  <a:pt x="282" y="834"/>
                </a:lnTo>
                <a:lnTo>
                  <a:pt x="276" y="810"/>
                </a:lnTo>
                <a:lnTo>
                  <a:pt x="272" y="787"/>
                </a:lnTo>
                <a:lnTo>
                  <a:pt x="271" y="763"/>
                </a:lnTo>
                <a:lnTo>
                  <a:pt x="272" y="738"/>
                </a:lnTo>
                <a:lnTo>
                  <a:pt x="276" y="714"/>
                </a:lnTo>
                <a:lnTo>
                  <a:pt x="282" y="691"/>
                </a:lnTo>
                <a:lnTo>
                  <a:pt x="289" y="669"/>
                </a:lnTo>
                <a:lnTo>
                  <a:pt x="300" y="647"/>
                </a:lnTo>
                <a:lnTo>
                  <a:pt x="311" y="627"/>
                </a:lnTo>
                <a:lnTo>
                  <a:pt x="326" y="608"/>
                </a:lnTo>
                <a:lnTo>
                  <a:pt x="340" y="589"/>
                </a:lnTo>
                <a:lnTo>
                  <a:pt x="357" y="573"/>
                </a:lnTo>
                <a:lnTo>
                  <a:pt x="375" y="559"/>
                </a:lnTo>
                <a:lnTo>
                  <a:pt x="396" y="546"/>
                </a:lnTo>
                <a:lnTo>
                  <a:pt x="417" y="535"/>
                </a:lnTo>
                <a:lnTo>
                  <a:pt x="439" y="527"/>
                </a:lnTo>
                <a:lnTo>
                  <a:pt x="460" y="521"/>
                </a:lnTo>
                <a:lnTo>
                  <a:pt x="473" y="518"/>
                </a:lnTo>
                <a:lnTo>
                  <a:pt x="485" y="517"/>
                </a:lnTo>
                <a:lnTo>
                  <a:pt x="497" y="516"/>
                </a:lnTo>
                <a:lnTo>
                  <a:pt x="509" y="516"/>
                </a:lnTo>
                <a:lnTo>
                  <a:pt x="522" y="516"/>
                </a:lnTo>
                <a:lnTo>
                  <a:pt x="534" y="517"/>
                </a:lnTo>
                <a:lnTo>
                  <a:pt x="547" y="518"/>
                </a:lnTo>
                <a:lnTo>
                  <a:pt x="560" y="521"/>
                </a:lnTo>
                <a:lnTo>
                  <a:pt x="572" y="523"/>
                </a:lnTo>
                <a:lnTo>
                  <a:pt x="583" y="527"/>
                </a:lnTo>
                <a:lnTo>
                  <a:pt x="595" y="530"/>
                </a:lnTo>
                <a:lnTo>
                  <a:pt x="606" y="535"/>
                </a:lnTo>
                <a:lnTo>
                  <a:pt x="628" y="546"/>
                </a:lnTo>
                <a:lnTo>
                  <a:pt x="649" y="559"/>
                </a:lnTo>
                <a:lnTo>
                  <a:pt x="667" y="573"/>
                </a:lnTo>
                <a:lnTo>
                  <a:pt x="684" y="589"/>
                </a:lnTo>
                <a:lnTo>
                  <a:pt x="700" y="608"/>
                </a:lnTo>
                <a:lnTo>
                  <a:pt x="714" y="627"/>
                </a:lnTo>
                <a:lnTo>
                  <a:pt x="726" y="647"/>
                </a:lnTo>
                <a:lnTo>
                  <a:pt x="736" y="669"/>
                </a:lnTo>
                <a:lnTo>
                  <a:pt x="744" y="691"/>
                </a:lnTo>
                <a:lnTo>
                  <a:pt x="751" y="714"/>
                </a:lnTo>
                <a:lnTo>
                  <a:pt x="754" y="738"/>
                </a:lnTo>
                <a:lnTo>
                  <a:pt x="755" y="763"/>
                </a:lnTo>
                <a:close/>
                <a:moveTo>
                  <a:pt x="1537" y="785"/>
                </a:moveTo>
                <a:lnTo>
                  <a:pt x="1543" y="786"/>
                </a:lnTo>
                <a:lnTo>
                  <a:pt x="1549" y="787"/>
                </a:lnTo>
                <a:lnTo>
                  <a:pt x="1555" y="788"/>
                </a:lnTo>
                <a:lnTo>
                  <a:pt x="1561" y="791"/>
                </a:lnTo>
                <a:lnTo>
                  <a:pt x="1572" y="797"/>
                </a:lnTo>
                <a:lnTo>
                  <a:pt x="1582" y="806"/>
                </a:lnTo>
                <a:lnTo>
                  <a:pt x="1591" y="817"/>
                </a:lnTo>
                <a:lnTo>
                  <a:pt x="1597" y="828"/>
                </a:lnTo>
                <a:lnTo>
                  <a:pt x="1599" y="832"/>
                </a:lnTo>
                <a:lnTo>
                  <a:pt x="1602" y="839"/>
                </a:lnTo>
                <a:lnTo>
                  <a:pt x="1603" y="845"/>
                </a:lnTo>
                <a:lnTo>
                  <a:pt x="1603" y="851"/>
                </a:lnTo>
                <a:lnTo>
                  <a:pt x="1603" y="857"/>
                </a:lnTo>
                <a:lnTo>
                  <a:pt x="1602" y="863"/>
                </a:lnTo>
                <a:lnTo>
                  <a:pt x="1599" y="869"/>
                </a:lnTo>
                <a:lnTo>
                  <a:pt x="1597" y="875"/>
                </a:lnTo>
                <a:lnTo>
                  <a:pt x="1591" y="886"/>
                </a:lnTo>
                <a:lnTo>
                  <a:pt x="1582" y="896"/>
                </a:lnTo>
                <a:lnTo>
                  <a:pt x="1572" y="905"/>
                </a:lnTo>
                <a:lnTo>
                  <a:pt x="1561" y="912"/>
                </a:lnTo>
                <a:lnTo>
                  <a:pt x="1555" y="914"/>
                </a:lnTo>
                <a:lnTo>
                  <a:pt x="1549" y="916"/>
                </a:lnTo>
                <a:lnTo>
                  <a:pt x="1543" y="917"/>
                </a:lnTo>
                <a:lnTo>
                  <a:pt x="1537" y="917"/>
                </a:lnTo>
                <a:lnTo>
                  <a:pt x="1530" y="917"/>
                </a:lnTo>
                <a:lnTo>
                  <a:pt x="1523" y="916"/>
                </a:lnTo>
                <a:lnTo>
                  <a:pt x="1517" y="914"/>
                </a:lnTo>
                <a:lnTo>
                  <a:pt x="1511" y="912"/>
                </a:lnTo>
                <a:lnTo>
                  <a:pt x="1504" y="908"/>
                </a:lnTo>
                <a:lnTo>
                  <a:pt x="1500" y="905"/>
                </a:lnTo>
                <a:lnTo>
                  <a:pt x="1495" y="901"/>
                </a:lnTo>
                <a:lnTo>
                  <a:pt x="1490" y="896"/>
                </a:lnTo>
                <a:lnTo>
                  <a:pt x="1483" y="886"/>
                </a:lnTo>
                <a:lnTo>
                  <a:pt x="1477" y="875"/>
                </a:lnTo>
                <a:lnTo>
                  <a:pt x="1474" y="863"/>
                </a:lnTo>
                <a:lnTo>
                  <a:pt x="1473" y="851"/>
                </a:lnTo>
                <a:lnTo>
                  <a:pt x="1474" y="839"/>
                </a:lnTo>
                <a:lnTo>
                  <a:pt x="1477" y="828"/>
                </a:lnTo>
                <a:lnTo>
                  <a:pt x="1483" y="817"/>
                </a:lnTo>
                <a:lnTo>
                  <a:pt x="1490" y="806"/>
                </a:lnTo>
                <a:lnTo>
                  <a:pt x="1495" y="802"/>
                </a:lnTo>
                <a:lnTo>
                  <a:pt x="1500" y="797"/>
                </a:lnTo>
                <a:lnTo>
                  <a:pt x="1504" y="795"/>
                </a:lnTo>
                <a:lnTo>
                  <a:pt x="1511" y="791"/>
                </a:lnTo>
                <a:lnTo>
                  <a:pt x="1517" y="788"/>
                </a:lnTo>
                <a:lnTo>
                  <a:pt x="1523" y="787"/>
                </a:lnTo>
                <a:lnTo>
                  <a:pt x="1530" y="786"/>
                </a:lnTo>
                <a:lnTo>
                  <a:pt x="1537" y="785"/>
                </a:lnTo>
                <a:close/>
                <a:moveTo>
                  <a:pt x="1750" y="785"/>
                </a:moveTo>
                <a:lnTo>
                  <a:pt x="1756" y="786"/>
                </a:lnTo>
                <a:lnTo>
                  <a:pt x="1762" y="787"/>
                </a:lnTo>
                <a:lnTo>
                  <a:pt x="1767" y="788"/>
                </a:lnTo>
                <a:lnTo>
                  <a:pt x="1773" y="791"/>
                </a:lnTo>
                <a:lnTo>
                  <a:pt x="1784" y="797"/>
                </a:lnTo>
                <a:lnTo>
                  <a:pt x="1793" y="806"/>
                </a:lnTo>
                <a:lnTo>
                  <a:pt x="1802" y="817"/>
                </a:lnTo>
                <a:lnTo>
                  <a:pt x="1809" y="828"/>
                </a:lnTo>
                <a:lnTo>
                  <a:pt x="1812" y="832"/>
                </a:lnTo>
                <a:lnTo>
                  <a:pt x="1813" y="839"/>
                </a:lnTo>
                <a:lnTo>
                  <a:pt x="1814" y="845"/>
                </a:lnTo>
                <a:lnTo>
                  <a:pt x="1814" y="851"/>
                </a:lnTo>
                <a:lnTo>
                  <a:pt x="1814" y="857"/>
                </a:lnTo>
                <a:lnTo>
                  <a:pt x="1813" y="863"/>
                </a:lnTo>
                <a:lnTo>
                  <a:pt x="1812" y="869"/>
                </a:lnTo>
                <a:lnTo>
                  <a:pt x="1809" y="875"/>
                </a:lnTo>
                <a:lnTo>
                  <a:pt x="1802" y="886"/>
                </a:lnTo>
                <a:lnTo>
                  <a:pt x="1793" y="896"/>
                </a:lnTo>
                <a:lnTo>
                  <a:pt x="1784" y="905"/>
                </a:lnTo>
                <a:lnTo>
                  <a:pt x="1773" y="912"/>
                </a:lnTo>
                <a:lnTo>
                  <a:pt x="1767" y="914"/>
                </a:lnTo>
                <a:lnTo>
                  <a:pt x="1762" y="916"/>
                </a:lnTo>
                <a:lnTo>
                  <a:pt x="1756" y="917"/>
                </a:lnTo>
                <a:lnTo>
                  <a:pt x="1750" y="917"/>
                </a:lnTo>
                <a:lnTo>
                  <a:pt x="1744" y="917"/>
                </a:lnTo>
                <a:lnTo>
                  <a:pt x="1738" y="916"/>
                </a:lnTo>
                <a:lnTo>
                  <a:pt x="1731" y="914"/>
                </a:lnTo>
                <a:lnTo>
                  <a:pt x="1725" y="912"/>
                </a:lnTo>
                <a:lnTo>
                  <a:pt x="1714" y="905"/>
                </a:lnTo>
                <a:lnTo>
                  <a:pt x="1705" y="896"/>
                </a:lnTo>
                <a:lnTo>
                  <a:pt x="1696" y="886"/>
                </a:lnTo>
                <a:lnTo>
                  <a:pt x="1690" y="875"/>
                </a:lnTo>
                <a:lnTo>
                  <a:pt x="1688" y="869"/>
                </a:lnTo>
                <a:lnTo>
                  <a:pt x="1685" y="863"/>
                </a:lnTo>
                <a:lnTo>
                  <a:pt x="1684" y="857"/>
                </a:lnTo>
                <a:lnTo>
                  <a:pt x="1684" y="851"/>
                </a:lnTo>
                <a:lnTo>
                  <a:pt x="1684" y="845"/>
                </a:lnTo>
                <a:lnTo>
                  <a:pt x="1685" y="839"/>
                </a:lnTo>
                <a:lnTo>
                  <a:pt x="1688" y="832"/>
                </a:lnTo>
                <a:lnTo>
                  <a:pt x="1690" y="828"/>
                </a:lnTo>
                <a:lnTo>
                  <a:pt x="1696" y="817"/>
                </a:lnTo>
                <a:lnTo>
                  <a:pt x="1705" y="806"/>
                </a:lnTo>
                <a:lnTo>
                  <a:pt x="1714" y="797"/>
                </a:lnTo>
                <a:lnTo>
                  <a:pt x="1725" y="791"/>
                </a:lnTo>
                <a:lnTo>
                  <a:pt x="1731" y="788"/>
                </a:lnTo>
                <a:lnTo>
                  <a:pt x="1738" y="787"/>
                </a:lnTo>
                <a:lnTo>
                  <a:pt x="1744" y="786"/>
                </a:lnTo>
                <a:lnTo>
                  <a:pt x="1750" y="785"/>
                </a:lnTo>
                <a:close/>
                <a:moveTo>
                  <a:pt x="1952" y="785"/>
                </a:moveTo>
                <a:lnTo>
                  <a:pt x="1960" y="786"/>
                </a:lnTo>
                <a:lnTo>
                  <a:pt x="1967" y="787"/>
                </a:lnTo>
                <a:lnTo>
                  <a:pt x="1974" y="788"/>
                </a:lnTo>
                <a:lnTo>
                  <a:pt x="1980" y="791"/>
                </a:lnTo>
                <a:lnTo>
                  <a:pt x="1985" y="795"/>
                </a:lnTo>
                <a:lnTo>
                  <a:pt x="1991" y="797"/>
                </a:lnTo>
                <a:lnTo>
                  <a:pt x="1996" y="802"/>
                </a:lnTo>
                <a:lnTo>
                  <a:pt x="2001" y="806"/>
                </a:lnTo>
                <a:lnTo>
                  <a:pt x="2008" y="817"/>
                </a:lnTo>
                <a:lnTo>
                  <a:pt x="2013" y="828"/>
                </a:lnTo>
                <a:lnTo>
                  <a:pt x="2017" y="839"/>
                </a:lnTo>
                <a:lnTo>
                  <a:pt x="2018" y="851"/>
                </a:lnTo>
                <a:lnTo>
                  <a:pt x="2017" y="863"/>
                </a:lnTo>
                <a:lnTo>
                  <a:pt x="2013" y="875"/>
                </a:lnTo>
                <a:lnTo>
                  <a:pt x="2008" y="886"/>
                </a:lnTo>
                <a:lnTo>
                  <a:pt x="2001" y="896"/>
                </a:lnTo>
                <a:lnTo>
                  <a:pt x="1996" y="901"/>
                </a:lnTo>
                <a:lnTo>
                  <a:pt x="1991" y="905"/>
                </a:lnTo>
                <a:lnTo>
                  <a:pt x="1985" y="908"/>
                </a:lnTo>
                <a:lnTo>
                  <a:pt x="1980" y="912"/>
                </a:lnTo>
                <a:lnTo>
                  <a:pt x="1974" y="914"/>
                </a:lnTo>
                <a:lnTo>
                  <a:pt x="1967" y="916"/>
                </a:lnTo>
                <a:lnTo>
                  <a:pt x="1960" y="917"/>
                </a:lnTo>
                <a:lnTo>
                  <a:pt x="1952" y="917"/>
                </a:lnTo>
                <a:lnTo>
                  <a:pt x="1946" y="917"/>
                </a:lnTo>
                <a:lnTo>
                  <a:pt x="1940" y="916"/>
                </a:lnTo>
                <a:lnTo>
                  <a:pt x="1934" y="914"/>
                </a:lnTo>
                <a:lnTo>
                  <a:pt x="1928" y="912"/>
                </a:lnTo>
                <a:lnTo>
                  <a:pt x="1917" y="905"/>
                </a:lnTo>
                <a:lnTo>
                  <a:pt x="1907" y="896"/>
                </a:lnTo>
                <a:lnTo>
                  <a:pt x="1899" y="886"/>
                </a:lnTo>
                <a:lnTo>
                  <a:pt x="1893" y="875"/>
                </a:lnTo>
                <a:lnTo>
                  <a:pt x="1890" y="869"/>
                </a:lnTo>
                <a:lnTo>
                  <a:pt x="1889" y="863"/>
                </a:lnTo>
                <a:lnTo>
                  <a:pt x="1888" y="857"/>
                </a:lnTo>
                <a:lnTo>
                  <a:pt x="1888" y="851"/>
                </a:lnTo>
                <a:lnTo>
                  <a:pt x="1888" y="845"/>
                </a:lnTo>
                <a:lnTo>
                  <a:pt x="1889" y="839"/>
                </a:lnTo>
                <a:lnTo>
                  <a:pt x="1890" y="832"/>
                </a:lnTo>
                <a:lnTo>
                  <a:pt x="1893" y="828"/>
                </a:lnTo>
                <a:lnTo>
                  <a:pt x="1899" y="817"/>
                </a:lnTo>
                <a:lnTo>
                  <a:pt x="1907" y="806"/>
                </a:lnTo>
                <a:lnTo>
                  <a:pt x="1917" y="797"/>
                </a:lnTo>
                <a:lnTo>
                  <a:pt x="1928" y="791"/>
                </a:lnTo>
                <a:lnTo>
                  <a:pt x="1934" y="788"/>
                </a:lnTo>
                <a:lnTo>
                  <a:pt x="1940" y="787"/>
                </a:lnTo>
                <a:lnTo>
                  <a:pt x="1946" y="786"/>
                </a:lnTo>
                <a:lnTo>
                  <a:pt x="1952" y="785"/>
                </a:lnTo>
                <a:close/>
                <a:moveTo>
                  <a:pt x="1236" y="621"/>
                </a:moveTo>
                <a:lnTo>
                  <a:pt x="1236" y="784"/>
                </a:lnTo>
                <a:lnTo>
                  <a:pt x="1236" y="907"/>
                </a:lnTo>
                <a:lnTo>
                  <a:pt x="1236" y="994"/>
                </a:lnTo>
                <a:lnTo>
                  <a:pt x="1236" y="1054"/>
                </a:lnTo>
                <a:lnTo>
                  <a:pt x="1236" y="1089"/>
                </a:lnTo>
                <a:lnTo>
                  <a:pt x="1236" y="1108"/>
                </a:lnTo>
                <a:lnTo>
                  <a:pt x="1236" y="1114"/>
                </a:lnTo>
                <a:lnTo>
                  <a:pt x="1236" y="1115"/>
                </a:lnTo>
                <a:lnTo>
                  <a:pt x="1237" y="1122"/>
                </a:lnTo>
                <a:lnTo>
                  <a:pt x="1237" y="1130"/>
                </a:lnTo>
                <a:lnTo>
                  <a:pt x="1240" y="1137"/>
                </a:lnTo>
                <a:lnTo>
                  <a:pt x="1242" y="1143"/>
                </a:lnTo>
                <a:lnTo>
                  <a:pt x="1245" y="1149"/>
                </a:lnTo>
                <a:lnTo>
                  <a:pt x="1248" y="1154"/>
                </a:lnTo>
                <a:lnTo>
                  <a:pt x="1253" y="1159"/>
                </a:lnTo>
                <a:lnTo>
                  <a:pt x="1258" y="1164"/>
                </a:lnTo>
                <a:lnTo>
                  <a:pt x="1263" y="1167"/>
                </a:lnTo>
                <a:lnTo>
                  <a:pt x="1269" y="1171"/>
                </a:lnTo>
                <a:lnTo>
                  <a:pt x="1275" y="1174"/>
                </a:lnTo>
                <a:lnTo>
                  <a:pt x="1281" y="1176"/>
                </a:lnTo>
                <a:lnTo>
                  <a:pt x="1294" y="1180"/>
                </a:lnTo>
                <a:lnTo>
                  <a:pt x="1310" y="1181"/>
                </a:lnTo>
                <a:lnTo>
                  <a:pt x="1559" y="1181"/>
                </a:lnTo>
                <a:lnTo>
                  <a:pt x="1747" y="1181"/>
                </a:lnTo>
                <a:lnTo>
                  <a:pt x="1882" y="1181"/>
                </a:lnTo>
                <a:lnTo>
                  <a:pt x="1972" y="1181"/>
                </a:lnTo>
                <a:lnTo>
                  <a:pt x="2026" y="1181"/>
                </a:lnTo>
                <a:lnTo>
                  <a:pt x="2054" y="1181"/>
                </a:lnTo>
                <a:lnTo>
                  <a:pt x="2065" y="1181"/>
                </a:lnTo>
                <a:lnTo>
                  <a:pt x="2067" y="1181"/>
                </a:lnTo>
                <a:lnTo>
                  <a:pt x="2151" y="1258"/>
                </a:lnTo>
                <a:lnTo>
                  <a:pt x="2195" y="1297"/>
                </a:lnTo>
                <a:lnTo>
                  <a:pt x="2211" y="1311"/>
                </a:lnTo>
                <a:lnTo>
                  <a:pt x="2213" y="1313"/>
                </a:lnTo>
                <a:lnTo>
                  <a:pt x="2184" y="1237"/>
                </a:lnTo>
                <a:lnTo>
                  <a:pt x="2170" y="1198"/>
                </a:lnTo>
                <a:lnTo>
                  <a:pt x="2165" y="1183"/>
                </a:lnTo>
                <a:lnTo>
                  <a:pt x="2164" y="1181"/>
                </a:lnTo>
                <a:lnTo>
                  <a:pt x="2178" y="1181"/>
                </a:lnTo>
                <a:lnTo>
                  <a:pt x="2181" y="1181"/>
                </a:lnTo>
                <a:lnTo>
                  <a:pt x="2195" y="1180"/>
                </a:lnTo>
                <a:lnTo>
                  <a:pt x="2209" y="1176"/>
                </a:lnTo>
                <a:lnTo>
                  <a:pt x="2216" y="1174"/>
                </a:lnTo>
                <a:lnTo>
                  <a:pt x="2222" y="1171"/>
                </a:lnTo>
                <a:lnTo>
                  <a:pt x="2227" y="1167"/>
                </a:lnTo>
                <a:lnTo>
                  <a:pt x="2233" y="1164"/>
                </a:lnTo>
                <a:lnTo>
                  <a:pt x="2236" y="1159"/>
                </a:lnTo>
                <a:lnTo>
                  <a:pt x="2241" y="1154"/>
                </a:lnTo>
                <a:lnTo>
                  <a:pt x="2245" y="1149"/>
                </a:lnTo>
                <a:lnTo>
                  <a:pt x="2247" y="1143"/>
                </a:lnTo>
                <a:lnTo>
                  <a:pt x="2251" y="1137"/>
                </a:lnTo>
                <a:lnTo>
                  <a:pt x="2252" y="1130"/>
                </a:lnTo>
                <a:lnTo>
                  <a:pt x="2253" y="1122"/>
                </a:lnTo>
                <a:lnTo>
                  <a:pt x="2253" y="1115"/>
                </a:lnTo>
                <a:lnTo>
                  <a:pt x="2253" y="952"/>
                </a:lnTo>
                <a:lnTo>
                  <a:pt x="2253" y="829"/>
                </a:lnTo>
                <a:lnTo>
                  <a:pt x="2253" y="741"/>
                </a:lnTo>
                <a:lnTo>
                  <a:pt x="2253" y="682"/>
                </a:lnTo>
                <a:lnTo>
                  <a:pt x="2253" y="647"/>
                </a:lnTo>
                <a:lnTo>
                  <a:pt x="2253" y="628"/>
                </a:lnTo>
                <a:lnTo>
                  <a:pt x="2253" y="621"/>
                </a:lnTo>
                <a:lnTo>
                  <a:pt x="2253" y="621"/>
                </a:lnTo>
                <a:lnTo>
                  <a:pt x="2253" y="612"/>
                </a:lnTo>
                <a:lnTo>
                  <a:pt x="2252" y="605"/>
                </a:lnTo>
                <a:lnTo>
                  <a:pt x="2251" y="598"/>
                </a:lnTo>
                <a:lnTo>
                  <a:pt x="2247" y="592"/>
                </a:lnTo>
                <a:lnTo>
                  <a:pt x="2245" y="586"/>
                </a:lnTo>
                <a:lnTo>
                  <a:pt x="2241" y="579"/>
                </a:lnTo>
                <a:lnTo>
                  <a:pt x="2236" y="573"/>
                </a:lnTo>
                <a:lnTo>
                  <a:pt x="2233" y="568"/>
                </a:lnTo>
                <a:lnTo>
                  <a:pt x="2227" y="564"/>
                </a:lnTo>
                <a:lnTo>
                  <a:pt x="2222" y="559"/>
                </a:lnTo>
                <a:lnTo>
                  <a:pt x="2216" y="555"/>
                </a:lnTo>
                <a:lnTo>
                  <a:pt x="2209" y="553"/>
                </a:lnTo>
                <a:lnTo>
                  <a:pt x="2202" y="550"/>
                </a:lnTo>
                <a:lnTo>
                  <a:pt x="2195" y="548"/>
                </a:lnTo>
                <a:lnTo>
                  <a:pt x="2188" y="546"/>
                </a:lnTo>
                <a:lnTo>
                  <a:pt x="2181" y="546"/>
                </a:lnTo>
                <a:lnTo>
                  <a:pt x="2028" y="546"/>
                </a:lnTo>
                <a:lnTo>
                  <a:pt x="1893" y="546"/>
                </a:lnTo>
                <a:lnTo>
                  <a:pt x="1776" y="546"/>
                </a:lnTo>
                <a:lnTo>
                  <a:pt x="1677" y="546"/>
                </a:lnTo>
                <a:lnTo>
                  <a:pt x="1593" y="546"/>
                </a:lnTo>
                <a:lnTo>
                  <a:pt x="1523" y="546"/>
                </a:lnTo>
                <a:lnTo>
                  <a:pt x="1464" y="546"/>
                </a:lnTo>
                <a:lnTo>
                  <a:pt x="1418" y="546"/>
                </a:lnTo>
                <a:lnTo>
                  <a:pt x="1383" y="546"/>
                </a:lnTo>
                <a:lnTo>
                  <a:pt x="1355" y="546"/>
                </a:lnTo>
                <a:lnTo>
                  <a:pt x="1336" y="546"/>
                </a:lnTo>
                <a:lnTo>
                  <a:pt x="1324" y="546"/>
                </a:lnTo>
                <a:lnTo>
                  <a:pt x="1315" y="546"/>
                </a:lnTo>
                <a:lnTo>
                  <a:pt x="1311" y="546"/>
                </a:lnTo>
                <a:lnTo>
                  <a:pt x="1310" y="546"/>
                </a:lnTo>
                <a:lnTo>
                  <a:pt x="1310" y="546"/>
                </a:lnTo>
                <a:lnTo>
                  <a:pt x="1302" y="546"/>
                </a:lnTo>
                <a:lnTo>
                  <a:pt x="1294" y="548"/>
                </a:lnTo>
                <a:lnTo>
                  <a:pt x="1288" y="550"/>
                </a:lnTo>
                <a:lnTo>
                  <a:pt x="1281" y="553"/>
                </a:lnTo>
                <a:lnTo>
                  <a:pt x="1275" y="555"/>
                </a:lnTo>
                <a:lnTo>
                  <a:pt x="1269" y="559"/>
                </a:lnTo>
                <a:lnTo>
                  <a:pt x="1263" y="564"/>
                </a:lnTo>
                <a:lnTo>
                  <a:pt x="1258" y="568"/>
                </a:lnTo>
                <a:lnTo>
                  <a:pt x="1253" y="573"/>
                </a:lnTo>
                <a:lnTo>
                  <a:pt x="1248" y="579"/>
                </a:lnTo>
                <a:lnTo>
                  <a:pt x="1245" y="586"/>
                </a:lnTo>
                <a:lnTo>
                  <a:pt x="1242" y="592"/>
                </a:lnTo>
                <a:lnTo>
                  <a:pt x="1240" y="598"/>
                </a:lnTo>
                <a:lnTo>
                  <a:pt x="1237" y="605"/>
                </a:lnTo>
                <a:lnTo>
                  <a:pt x="1237" y="612"/>
                </a:lnTo>
                <a:lnTo>
                  <a:pt x="1236" y="621"/>
                </a:lnTo>
                <a:close/>
                <a:moveTo>
                  <a:pt x="1149" y="220"/>
                </a:moveTo>
                <a:lnTo>
                  <a:pt x="1156" y="221"/>
                </a:lnTo>
                <a:lnTo>
                  <a:pt x="1163" y="221"/>
                </a:lnTo>
                <a:lnTo>
                  <a:pt x="1169" y="224"/>
                </a:lnTo>
                <a:lnTo>
                  <a:pt x="1175" y="226"/>
                </a:lnTo>
                <a:lnTo>
                  <a:pt x="1182" y="229"/>
                </a:lnTo>
                <a:lnTo>
                  <a:pt x="1186" y="232"/>
                </a:lnTo>
                <a:lnTo>
                  <a:pt x="1191" y="236"/>
                </a:lnTo>
                <a:lnTo>
                  <a:pt x="1196" y="241"/>
                </a:lnTo>
                <a:lnTo>
                  <a:pt x="1203" y="251"/>
                </a:lnTo>
                <a:lnTo>
                  <a:pt x="1209" y="262"/>
                </a:lnTo>
                <a:lnTo>
                  <a:pt x="1212" y="274"/>
                </a:lnTo>
                <a:lnTo>
                  <a:pt x="1213" y="286"/>
                </a:lnTo>
                <a:lnTo>
                  <a:pt x="1212" y="299"/>
                </a:lnTo>
                <a:lnTo>
                  <a:pt x="1209" y="313"/>
                </a:lnTo>
                <a:lnTo>
                  <a:pt x="1207" y="319"/>
                </a:lnTo>
                <a:lnTo>
                  <a:pt x="1203" y="324"/>
                </a:lnTo>
                <a:lnTo>
                  <a:pt x="1200" y="329"/>
                </a:lnTo>
                <a:lnTo>
                  <a:pt x="1196" y="334"/>
                </a:lnTo>
                <a:lnTo>
                  <a:pt x="1191" y="337"/>
                </a:lnTo>
                <a:lnTo>
                  <a:pt x="1186" y="341"/>
                </a:lnTo>
                <a:lnTo>
                  <a:pt x="1182" y="343"/>
                </a:lnTo>
                <a:lnTo>
                  <a:pt x="1175" y="346"/>
                </a:lnTo>
                <a:lnTo>
                  <a:pt x="1163" y="350"/>
                </a:lnTo>
                <a:lnTo>
                  <a:pt x="1149" y="351"/>
                </a:lnTo>
                <a:lnTo>
                  <a:pt x="1137" y="350"/>
                </a:lnTo>
                <a:lnTo>
                  <a:pt x="1124" y="346"/>
                </a:lnTo>
                <a:lnTo>
                  <a:pt x="1114" y="341"/>
                </a:lnTo>
                <a:lnTo>
                  <a:pt x="1104" y="334"/>
                </a:lnTo>
                <a:lnTo>
                  <a:pt x="1099" y="329"/>
                </a:lnTo>
                <a:lnTo>
                  <a:pt x="1095" y="324"/>
                </a:lnTo>
                <a:lnTo>
                  <a:pt x="1092" y="319"/>
                </a:lnTo>
                <a:lnTo>
                  <a:pt x="1089" y="313"/>
                </a:lnTo>
                <a:lnTo>
                  <a:pt x="1087" y="307"/>
                </a:lnTo>
                <a:lnTo>
                  <a:pt x="1084" y="299"/>
                </a:lnTo>
                <a:lnTo>
                  <a:pt x="1083" y="293"/>
                </a:lnTo>
                <a:lnTo>
                  <a:pt x="1083" y="286"/>
                </a:lnTo>
                <a:lnTo>
                  <a:pt x="1083" y="280"/>
                </a:lnTo>
                <a:lnTo>
                  <a:pt x="1084" y="274"/>
                </a:lnTo>
                <a:lnTo>
                  <a:pt x="1087" y="268"/>
                </a:lnTo>
                <a:lnTo>
                  <a:pt x="1089" y="262"/>
                </a:lnTo>
                <a:lnTo>
                  <a:pt x="1095" y="251"/>
                </a:lnTo>
                <a:lnTo>
                  <a:pt x="1104" y="241"/>
                </a:lnTo>
                <a:lnTo>
                  <a:pt x="1114" y="232"/>
                </a:lnTo>
                <a:lnTo>
                  <a:pt x="1124" y="226"/>
                </a:lnTo>
                <a:lnTo>
                  <a:pt x="1131" y="224"/>
                </a:lnTo>
                <a:lnTo>
                  <a:pt x="1137" y="221"/>
                </a:lnTo>
                <a:lnTo>
                  <a:pt x="1143" y="221"/>
                </a:lnTo>
                <a:lnTo>
                  <a:pt x="1149" y="220"/>
                </a:lnTo>
                <a:close/>
                <a:moveTo>
                  <a:pt x="1360" y="220"/>
                </a:moveTo>
                <a:lnTo>
                  <a:pt x="1367" y="221"/>
                </a:lnTo>
                <a:lnTo>
                  <a:pt x="1375" y="221"/>
                </a:lnTo>
                <a:lnTo>
                  <a:pt x="1381" y="224"/>
                </a:lnTo>
                <a:lnTo>
                  <a:pt x="1387" y="226"/>
                </a:lnTo>
                <a:lnTo>
                  <a:pt x="1393" y="229"/>
                </a:lnTo>
                <a:lnTo>
                  <a:pt x="1398" y="232"/>
                </a:lnTo>
                <a:lnTo>
                  <a:pt x="1402" y="236"/>
                </a:lnTo>
                <a:lnTo>
                  <a:pt x="1407" y="241"/>
                </a:lnTo>
                <a:lnTo>
                  <a:pt x="1415" y="251"/>
                </a:lnTo>
                <a:lnTo>
                  <a:pt x="1421" y="262"/>
                </a:lnTo>
                <a:lnTo>
                  <a:pt x="1423" y="274"/>
                </a:lnTo>
                <a:lnTo>
                  <a:pt x="1424" y="286"/>
                </a:lnTo>
                <a:lnTo>
                  <a:pt x="1423" y="299"/>
                </a:lnTo>
                <a:lnTo>
                  <a:pt x="1421" y="313"/>
                </a:lnTo>
                <a:lnTo>
                  <a:pt x="1418" y="319"/>
                </a:lnTo>
                <a:lnTo>
                  <a:pt x="1415" y="324"/>
                </a:lnTo>
                <a:lnTo>
                  <a:pt x="1411" y="329"/>
                </a:lnTo>
                <a:lnTo>
                  <a:pt x="1407" y="334"/>
                </a:lnTo>
                <a:lnTo>
                  <a:pt x="1402" y="337"/>
                </a:lnTo>
                <a:lnTo>
                  <a:pt x="1398" y="341"/>
                </a:lnTo>
                <a:lnTo>
                  <a:pt x="1393" y="343"/>
                </a:lnTo>
                <a:lnTo>
                  <a:pt x="1387" y="346"/>
                </a:lnTo>
                <a:lnTo>
                  <a:pt x="1375" y="350"/>
                </a:lnTo>
                <a:lnTo>
                  <a:pt x="1360" y="351"/>
                </a:lnTo>
                <a:lnTo>
                  <a:pt x="1348" y="350"/>
                </a:lnTo>
                <a:lnTo>
                  <a:pt x="1336" y="346"/>
                </a:lnTo>
                <a:lnTo>
                  <a:pt x="1325" y="341"/>
                </a:lnTo>
                <a:lnTo>
                  <a:pt x="1315" y="334"/>
                </a:lnTo>
                <a:lnTo>
                  <a:pt x="1310" y="329"/>
                </a:lnTo>
                <a:lnTo>
                  <a:pt x="1307" y="324"/>
                </a:lnTo>
                <a:lnTo>
                  <a:pt x="1303" y="319"/>
                </a:lnTo>
                <a:lnTo>
                  <a:pt x="1300" y="313"/>
                </a:lnTo>
                <a:lnTo>
                  <a:pt x="1298" y="307"/>
                </a:lnTo>
                <a:lnTo>
                  <a:pt x="1296" y="299"/>
                </a:lnTo>
                <a:lnTo>
                  <a:pt x="1296" y="293"/>
                </a:lnTo>
                <a:lnTo>
                  <a:pt x="1294" y="286"/>
                </a:lnTo>
                <a:lnTo>
                  <a:pt x="1296" y="280"/>
                </a:lnTo>
                <a:lnTo>
                  <a:pt x="1296" y="274"/>
                </a:lnTo>
                <a:lnTo>
                  <a:pt x="1298" y="268"/>
                </a:lnTo>
                <a:lnTo>
                  <a:pt x="1300" y="262"/>
                </a:lnTo>
                <a:lnTo>
                  <a:pt x="1307" y="251"/>
                </a:lnTo>
                <a:lnTo>
                  <a:pt x="1315" y="241"/>
                </a:lnTo>
                <a:lnTo>
                  <a:pt x="1325" y="232"/>
                </a:lnTo>
                <a:lnTo>
                  <a:pt x="1336" y="226"/>
                </a:lnTo>
                <a:lnTo>
                  <a:pt x="1342" y="224"/>
                </a:lnTo>
                <a:lnTo>
                  <a:pt x="1348" y="221"/>
                </a:lnTo>
                <a:lnTo>
                  <a:pt x="1354" y="221"/>
                </a:lnTo>
                <a:lnTo>
                  <a:pt x="1360" y="220"/>
                </a:lnTo>
                <a:close/>
                <a:moveTo>
                  <a:pt x="1563" y="220"/>
                </a:moveTo>
                <a:lnTo>
                  <a:pt x="1570" y="221"/>
                </a:lnTo>
                <a:lnTo>
                  <a:pt x="1577" y="221"/>
                </a:lnTo>
                <a:lnTo>
                  <a:pt x="1585" y="224"/>
                </a:lnTo>
                <a:lnTo>
                  <a:pt x="1591" y="226"/>
                </a:lnTo>
                <a:lnTo>
                  <a:pt x="1597" y="229"/>
                </a:lnTo>
                <a:lnTo>
                  <a:pt x="1602" y="232"/>
                </a:lnTo>
                <a:lnTo>
                  <a:pt x="1606" y="236"/>
                </a:lnTo>
                <a:lnTo>
                  <a:pt x="1611" y="241"/>
                </a:lnTo>
                <a:lnTo>
                  <a:pt x="1619" y="251"/>
                </a:lnTo>
                <a:lnTo>
                  <a:pt x="1623" y="262"/>
                </a:lnTo>
                <a:lnTo>
                  <a:pt x="1627" y="274"/>
                </a:lnTo>
                <a:lnTo>
                  <a:pt x="1628" y="286"/>
                </a:lnTo>
                <a:lnTo>
                  <a:pt x="1627" y="299"/>
                </a:lnTo>
                <a:lnTo>
                  <a:pt x="1623" y="313"/>
                </a:lnTo>
                <a:lnTo>
                  <a:pt x="1621" y="319"/>
                </a:lnTo>
                <a:lnTo>
                  <a:pt x="1619" y="324"/>
                </a:lnTo>
                <a:lnTo>
                  <a:pt x="1615" y="329"/>
                </a:lnTo>
                <a:lnTo>
                  <a:pt x="1611" y="334"/>
                </a:lnTo>
                <a:lnTo>
                  <a:pt x="1606" y="337"/>
                </a:lnTo>
                <a:lnTo>
                  <a:pt x="1602" y="341"/>
                </a:lnTo>
                <a:lnTo>
                  <a:pt x="1595" y="343"/>
                </a:lnTo>
                <a:lnTo>
                  <a:pt x="1591" y="346"/>
                </a:lnTo>
                <a:lnTo>
                  <a:pt x="1577" y="350"/>
                </a:lnTo>
                <a:lnTo>
                  <a:pt x="1563" y="351"/>
                </a:lnTo>
                <a:lnTo>
                  <a:pt x="1551" y="350"/>
                </a:lnTo>
                <a:lnTo>
                  <a:pt x="1540" y="346"/>
                </a:lnTo>
                <a:lnTo>
                  <a:pt x="1529" y="341"/>
                </a:lnTo>
                <a:lnTo>
                  <a:pt x="1518" y="334"/>
                </a:lnTo>
                <a:lnTo>
                  <a:pt x="1514" y="329"/>
                </a:lnTo>
                <a:lnTo>
                  <a:pt x="1511" y="324"/>
                </a:lnTo>
                <a:lnTo>
                  <a:pt x="1507" y="319"/>
                </a:lnTo>
                <a:lnTo>
                  <a:pt x="1503" y="313"/>
                </a:lnTo>
                <a:lnTo>
                  <a:pt x="1501" y="307"/>
                </a:lnTo>
                <a:lnTo>
                  <a:pt x="1500" y="299"/>
                </a:lnTo>
                <a:lnTo>
                  <a:pt x="1498" y="293"/>
                </a:lnTo>
                <a:lnTo>
                  <a:pt x="1498" y="286"/>
                </a:lnTo>
                <a:lnTo>
                  <a:pt x="1498" y="280"/>
                </a:lnTo>
                <a:lnTo>
                  <a:pt x="1500" y="274"/>
                </a:lnTo>
                <a:lnTo>
                  <a:pt x="1501" y="268"/>
                </a:lnTo>
                <a:lnTo>
                  <a:pt x="1503" y="262"/>
                </a:lnTo>
                <a:lnTo>
                  <a:pt x="1511" y="251"/>
                </a:lnTo>
                <a:lnTo>
                  <a:pt x="1518" y="241"/>
                </a:lnTo>
                <a:lnTo>
                  <a:pt x="1529" y="232"/>
                </a:lnTo>
                <a:lnTo>
                  <a:pt x="1540" y="226"/>
                </a:lnTo>
                <a:lnTo>
                  <a:pt x="1544" y="224"/>
                </a:lnTo>
                <a:lnTo>
                  <a:pt x="1551" y="221"/>
                </a:lnTo>
                <a:lnTo>
                  <a:pt x="1557" y="221"/>
                </a:lnTo>
                <a:lnTo>
                  <a:pt x="1563" y="220"/>
                </a:lnTo>
                <a:close/>
                <a:moveTo>
                  <a:pt x="920" y="627"/>
                </a:moveTo>
                <a:lnTo>
                  <a:pt x="942" y="627"/>
                </a:lnTo>
                <a:lnTo>
                  <a:pt x="945" y="627"/>
                </a:lnTo>
                <a:lnTo>
                  <a:pt x="912" y="703"/>
                </a:lnTo>
                <a:lnTo>
                  <a:pt x="895" y="742"/>
                </a:lnTo>
                <a:lnTo>
                  <a:pt x="889" y="755"/>
                </a:lnTo>
                <a:lnTo>
                  <a:pt x="888" y="758"/>
                </a:lnTo>
                <a:lnTo>
                  <a:pt x="978" y="682"/>
                </a:lnTo>
                <a:lnTo>
                  <a:pt x="1024" y="644"/>
                </a:lnTo>
                <a:lnTo>
                  <a:pt x="1041" y="630"/>
                </a:lnTo>
                <a:lnTo>
                  <a:pt x="1043" y="627"/>
                </a:lnTo>
                <a:lnTo>
                  <a:pt x="1127" y="627"/>
                </a:lnTo>
                <a:lnTo>
                  <a:pt x="1171" y="627"/>
                </a:lnTo>
                <a:lnTo>
                  <a:pt x="1186" y="627"/>
                </a:lnTo>
                <a:lnTo>
                  <a:pt x="1189" y="627"/>
                </a:lnTo>
                <a:lnTo>
                  <a:pt x="1189" y="590"/>
                </a:lnTo>
                <a:lnTo>
                  <a:pt x="1189" y="571"/>
                </a:lnTo>
                <a:lnTo>
                  <a:pt x="1189" y="564"/>
                </a:lnTo>
                <a:lnTo>
                  <a:pt x="1189" y="562"/>
                </a:lnTo>
                <a:lnTo>
                  <a:pt x="1189" y="556"/>
                </a:lnTo>
                <a:lnTo>
                  <a:pt x="1190" y="550"/>
                </a:lnTo>
                <a:lnTo>
                  <a:pt x="1192" y="544"/>
                </a:lnTo>
                <a:lnTo>
                  <a:pt x="1195" y="539"/>
                </a:lnTo>
                <a:lnTo>
                  <a:pt x="1197" y="533"/>
                </a:lnTo>
                <a:lnTo>
                  <a:pt x="1201" y="528"/>
                </a:lnTo>
                <a:lnTo>
                  <a:pt x="1206" y="522"/>
                </a:lnTo>
                <a:lnTo>
                  <a:pt x="1211" y="517"/>
                </a:lnTo>
                <a:lnTo>
                  <a:pt x="1216" y="513"/>
                </a:lnTo>
                <a:lnTo>
                  <a:pt x="1222" y="510"/>
                </a:lnTo>
                <a:lnTo>
                  <a:pt x="1228" y="506"/>
                </a:lnTo>
                <a:lnTo>
                  <a:pt x="1234" y="502"/>
                </a:lnTo>
                <a:lnTo>
                  <a:pt x="1240" y="500"/>
                </a:lnTo>
                <a:lnTo>
                  <a:pt x="1247" y="499"/>
                </a:lnTo>
                <a:lnTo>
                  <a:pt x="1254" y="497"/>
                </a:lnTo>
                <a:lnTo>
                  <a:pt x="1262" y="497"/>
                </a:lnTo>
                <a:lnTo>
                  <a:pt x="1461" y="497"/>
                </a:lnTo>
                <a:lnTo>
                  <a:pt x="1610" y="497"/>
                </a:lnTo>
                <a:lnTo>
                  <a:pt x="1717" y="497"/>
                </a:lnTo>
                <a:lnTo>
                  <a:pt x="1789" y="497"/>
                </a:lnTo>
                <a:lnTo>
                  <a:pt x="1832" y="497"/>
                </a:lnTo>
                <a:lnTo>
                  <a:pt x="1854" y="497"/>
                </a:lnTo>
                <a:lnTo>
                  <a:pt x="1863" y="497"/>
                </a:lnTo>
                <a:lnTo>
                  <a:pt x="1864" y="497"/>
                </a:lnTo>
                <a:lnTo>
                  <a:pt x="1864" y="354"/>
                </a:lnTo>
                <a:lnTo>
                  <a:pt x="1864" y="248"/>
                </a:lnTo>
                <a:lnTo>
                  <a:pt x="1864" y="171"/>
                </a:lnTo>
                <a:lnTo>
                  <a:pt x="1864" y="120"/>
                </a:lnTo>
                <a:lnTo>
                  <a:pt x="1864" y="88"/>
                </a:lnTo>
                <a:lnTo>
                  <a:pt x="1864" y="72"/>
                </a:lnTo>
                <a:lnTo>
                  <a:pt x="1864" y="66"/>
                </a:lnTo>
                <a:lnTo>
                  <a:pt x="1864" y="66"/>
                </a:lnTo>
                <a:lnTo>
                  <a:pt x="1864" y="60"/>
                </a:lnTo>
                <a:lnTo>
                  <a:pt x="1863" y="54"/>
                </a:lnTo>
                <a:lnTo>
                  <a:pt x="1860" y="48"/>
                </a:lnTo>
                <a:lnTo>
                  <a:pt x="1858" y="41"/>
                </a:lnTo>
                <a:lnTo>
                  <a:pt x="1852" y="30"/>
                </a:lnTo>
                <a:lnTo>
                  <a:pt x="1843" y="21"/>
                </a:lnTo>
                <a:lnTo>
                  <a:pt x="1833" y="12"/>
                </a:lnTo>
                <a:lnTo>
                  <a:pt x="1823" y="6"/>
                </a:lnTo>
                <a:lnTo>
                  <a:pt x="1816" y="4"/>
                </a:lnTo>
                <a:lnTo>
                  <a:pt x="1810" y="2"/>
                </a:lnTo>
                <a:lnTo>
                  <a:pt x="1804" y="1"/>
                </a:lnTo>
                <a:lnTo>
                  <a:pt x="1798" y="0"/>
                </a:lnTo>
                <a:lnTo>
                  <a:pt x="1644" y="0"/>
                </a:lnTo>
                <a:lnTo>
                  <a:pt x="1509" y="0"/>
                </a:lnTo>
                <a:lnTo>
                  <a:pt x="1392" y="0"/>
                </a:lnTo>
                <a:lnTo>
                  <a:pt x="1291" y="0"/>
                </a:lnTo>
                <a:lnTo>
                  <a:pt x="1206" y="0"/>
                </a:lnTo>
                <a:lnTo>
                  <a:pt x="1135" y="0"/>
                </a:lnTo>
                <a:lnTo>
                  <a:pt x="1077" y="0"/>
                </a:lnTo>
                <a:lnTo>
                  <a:pt x="1031" y="0"/>
                </a:lnTo>
                <a:lnTo>
                  <a:pt x="995" y="0"/>
                </a:lnTo>
                <a:lnTo>
                  <a:pt x="967" y="0"/>
                </a:lnTo>
                <a:lnTo>
                  <a:pt x="947" y="0"/>
                </a:lnTo>
                <a:lnTo>
                  <a:pt x="934" y="0"/>
                </a:lnTo>
                <a:lnTo>
                  <a:pt x="927" y="0"/>
                </a:lnTo>
                <a:lnTo>
                  <a:pt x="923" y="0"/>
                </a:lnTo>
                <a:lnTo>
                  <a:pt x="920" y="0"/>
                </a:lnTo>
                <a:lnTo>
                  <a:pt x="920" y="0"/>
                </a:lnTo>
                <a:lnTo>
                  <a:pt x="913" y="1"/>
                </a:lnTo>
                <a:lnTo>
                  <a:pt x="906" y="2"/>
                </a:lnTo>
                <a:lnTo>
                  <a:pt x="900" y="4"/>
                </a:lnTo>
                <a:lnTo>
                  <a:pt x="894" y="6"/>
                </a:lnTo>
                <a:lnTo>
                  <a:pt x="888" y="8"/>
                </a:lnTo>
                <a:lnTo>
                  <a:pt x="882" y="12"/>
                </a:lnTo>
                <a:lnTo>
                  <a:pt x="877" y="16"/>
                </a:lnTo>
                <a:lnTo>
                  <a:pt x="873" y="21"/>
                </a:lnTo>
                <a:lnTo>
                  <a:pt x="866" y="30"/>
                </a:lnTo>
                <a:lnTo>
                  <a:pt x="860" y="41"/>
                </a:lnTo>
                <a:lnTo>
                  <a:pt x="856" y="54"/>
                </a:lnTo>
                <a:lnTo>
                  <a:pt x="856" y="66"/>
                </a:lnTo>
                <a:lnTo>
                  <a:pt x="856" y="230"/>
                </a:lnTo>
                <a:lnTo>
                  <a:pt x="856" y="353"/>
                </a:lnTo>
                <a:lnTo>
                  <a:pt x="856" y="441"/>
                </a:lnTo>
                <a:lnTo>
                  <a:pt x="856" y="500"/>
                </a:lnTo>
                <a:lnTo>
                  <a:pt x="856" y="537"/>
                </a:lnTo>
                <a:lnTo>
                  <a:pt x="856" y="555"/>
                </a:lnTo>
                <a:lnTo>
                  <a:pt x="856" y="561"/>
                </a:lnTo>
                <a:lnTo>
                  <a:pt x="856" y="562"/>
                </a:lnTo>
                <a:lnTo>
                  <a:pt x="856" y="575"/>
                </a:lnTo>
                <a:lnTo>
                  <a:pt x="860" y="587"/>
                </a:lnTo>
                <a:lnTo>
                  <a:pt x="866" y="598"/>
                </a:lnTo>
                <a:lnTo>
                  <a:pt x="873" y="608"/>
                </a:lnTo>
                <a:lnTo>
                  <a:pt x="877" y="611"/>
                </a:lnTo>
                <a:lnTo>
                  <a:pt x="882" y="616"/>
                </a:lnTo>
                <a:lnTo>
                  <a:pt x="888" y="619"/>
                </a:lnTo>
                <a:lnTo>
                  <a:pt x="894" y="622"/>
                </a:lnTo>
                <a:lnTo>
                  <a:pt x="900" y="625"/>
                </a:lnTo>
                <a:lnTo>
                  <a:pt x="906" y="626"/>
                </a:lnTo>
                <a:lnTo>
                  <a:pt x="913" y="627"/>
                </a:lnTo>
                <a:lnTo>
                  <a:pt x="920" y="627"/>
                </a:lnTo>
                <a:close/>
                <a:moveTo>
                  <a:pt x="2144" y="1645"/>
                </a:moveTo>
                <a:lnTo>
                  <a:pt x="2144" y="1637"/>
                </a:lnTo>
                <a:lnTo>
                  <a:pt x="2142" y="1628"/>
                </a:lnTo>
                <a:lnTo>
                  <a:pt x="2141" y="1619"/>
                </a:lnTo>
                <a:lnTo>
                  <a:pt x="2137" y="1611"/>
                </a:lnTo>
                <a:lnTo>
                  <a:pt x="2133" y="1603"/>
                </a:lnTo>
                <a:lnTo>
                  <a:pt x="2128" y="1595"/>
                </a:lnTo>
                <a:lnTo>
                  <a:pt x="2124" y="1588"/>
                </a:lnTo>
                <a:lnTo>
                  <a:pt x="2118" y="1582"/>
                </a:lnTo>
                <a:lnTo>
                  <a:pt x="2111" y="1576"/>
                </a:lnTo>
                <a:lnTo>
                  <a:pt x="2104" y="1571"/>
                </a:lnTo>
                <a:lnTo>
                  <a:pt x="2097" y="1566"/>
                </a:lnTo>
                <a:lnTo>
                  <a:pt x="2090" y="1562"/>
                </a:lnTo>
                <a:lnTo>
                  <a:pt x="2081" y="1560"/>
                </a:lnTo>
                <a:lnTo>
                  <a:pt x="2073" y="1557"/>
                </a:lnTo>
                <a:lnTo>
                  <a:pt x="2064" y="1556"/>
                </a:lnTo>
                <a:lnTo>
                  <a:pt x="2056" y="1555"/>
                </a:lnTo>
                <a:lnTo>
                  <a:pt x="1873" y="1555"/>
                </a:lnTo>
                <a:lnTo>
                  <a:pt x="1713" y="1555"/>
                </a:lnTo>
                <a:lnTo>
                  <a:pt x="1576" y="1555"/>
                </a:lnTo>
                <a:lnTo>
                  <a:pt x="1457" y="1555"/>
                </a:lnTo>
                <a:lnTo>
                  <a:pt x="1356" y="1555"/>
                </a:lnTo>
                <a:lnTo>
                  <a:pt x="1274" y="1555"/>
                </a:lnTo>
                <a:lnTo>
                  <a:pt x="1205" y="1555"/>
                </a:lnTo>
                <a:lnTo>
                  <a:pt x="1150" y="1555"/>
                </a:lnTo>
                <a:lnTo>
                  <a:pt x="1107" y="1555"/>
                </a:lnTo>
                <a:lnTo>
                  <a:pt x="1075" y="1555"/>
                </a:lnTo>
                <a:lnTo>
                  <a:pt x="1053" y="1555"/>
                </a:lnTo>
                <a:lnTo>
                  <a:pt x="1037" y="1555"/>
                </a:lnTo>
                <a:lnTo>
                  <a:pt x="1027" y="1555"/>
                </a:lnTo>
                <a:lnTo>
                  <a:pt x="1022" y="1555"/>
                </a:lnTo>
                <a:lnTo>
                  <a:pt x="1021" y="1555"/>
                </a:lnTo>
                <a:lnTo>
                  <a:pt x="1021" y="1555"/>
                </a:lnTo>
                <a:lnTo>
                  <a:pt x="1012" y="1556"/>
                </a:lnTo>
                <a:lnTo>
                  <a:pt x="1003" y="1557"/>
                </a:lnTo>
                <a:lnTo>
                  <a:pt x="995" y="1560"/>
                </a:lnTo>
                <a:lnTo>
                  <a:pt x="986" y="1562"/>
                </a:lnTo>
                <a:lnTo>
                  <a:pt x="979" y="1566"/>
                </a:lnTo>
                <a:lnTo>
                  <a:pt x="971" y="1571"/>
                </a:lnTo>
                <a:lnTo>
                  <a:pt x="964" y="1576"/>
                </a:lnTo>
                <a:lnTo>
                  <a:pt x="958" y="1582"/>
                </a:lnTo>
                <a:lnTo>
                  <a:pt x="952" y="1588"/>
                </a:lnTo>
                <a:lnTo>
                  <a:pt x="947" y="1595"/>
                </a:lnTo>
                <a:lnTo>
                  <a:pt x="942" y="1603"/>
                </a:lnTo>
                <a:lnTo>
                  <a:pt x="939" y="1611"/>
                </a:lnTo>
                <a:lnTo>
                  <a:pt x="936" y="1619"/>
                </a:lnTo>
                <a:lnTo>
                  <a:pt x="934" y="1628"/>
                </a:lnTo>
                <a:lnTo>
                  <a:pt x="933" y="1637"/>
                </a:lnTo>
                <a:lnTo>
                  <a:pt x="931" y="1645"/>
                </a:lnTo>
                <a:lnTo>
                  <a:pt x="933" y="1655"/>
                </a:lnTo>
                <a:lnTo>
                  <a:pt x="934" y="1664"/>
                </a:lnTo>
                <a:lnTo>
                  <a:pt x="936" y="1672"/>
                </a:lnTo>
                <a:lnTo>
                  <a:pt x="939" y="1681"/>
                </a:lnTo>
                <a:lnTo>
                  <a:pt x="942" y="1688"/>
                </a:lnTo>
                <a:lnTo>
                  <a:pt x="947" y="1696"/>
                </a:lnTo>
                <a:lnTo>
                  <a:pt x="952" y="1703"/>
                </a:lnTo>
                <a:lnTo>
                  <a:pt x="958" y="1709"/>
                </a:lnTo>
                <a:lnTo>
                  <a:pt x="964" y="1715"/>
                </a:lnTo>
                <a:lnTo>
                  <a:pt x="971" y="1721"/>
                </a:lnTo>
                <a:lnTo>
                  <a:pt x="979" y="1725"/>
                </a:lnTo>
                <a:lnTo>
                  <a:pt x="986" y="1729"/>
                </a:lnTo>
                <a:lnTo>
                  <a:pt x="995" y="1732"/>
                </a:lnTo>
                <a:lnTo>
                  <a:pt x="1003" y="1735"/>
                </a:lnTo>
                <a:lnTo>
                  <a:pt x="1012" y="1736"/>
                </a:lnTo>
                <a:lnTo>
                  <a:pt x="1021" y="1736"/>
                </a:lnTo>
                <a:lnTo>
                  <a:pt x="1090" y="1736"/>
                </a:lnTo>
                <a:lnTo>
                  <a:pt x="1127" y="1736"/>
                </a:lnTo>
                <a:lnTo>
                  <a:pt x="1140" y="1736"/>
                </a:lnTo>
                <a:lnTo>
                  <a:pt x="1141" y="1736"/>
                </a:lnTo>
                <a:lnTo>
                  <a:pt x="1141" y="2002"/>
                </a:lnTo>
                <a:lnTo>
                  <a:pt x="1141" y="2203"/>
                </a:lnTo>
                <a:lnTo>
                  <a:pt x="1141" y="2346"/>
                </a:lnTo>
                <a:lnTo>
                  <a:pt x="1141" y="2443"/>
                </a:lnTo>
                <a:lnTo>
                  <a:pt x="1141" y="2500"/>
                </a:lnTo>
                <a:lnTo>
                  <a:pt x="1141" y="2531"/>
                </a:lnTo>
                <a:lnTo>
                  <a:pt x="1141" y="2542"/>
                </a:lnTo>
                <a:lnTo>
                  <a:pt x="1141" y="2543"/>
                </a:lnTo>
                <a:lnTo>
                  <a:pt x="1404" y="2543"/>
                </a:lnTo>
                <a:lnTo>
                  <a:pt x="1600" y="2543"/>
                </a:lnTo>
                <a:lnTo>
                  <a:pt x="1740" y="2543"/>
                </a:lnTo>
                <a:lnTo>
                  <a:pt x="1835" y="2543"/>
                </a:lnTo>
                <a:lnTo>
                  <a:pt x="1892" y="2543"/>
                </a:lnTo>
                <a:lnTo>
                  <a:pt x="1922" y="2543"/>
                </a:lnTo>
                <a:lnTo>
                  <a:pt x="1933" y="2543"/>
                </a:lnTo>
                <a:lnTo>
                  <a:pt x="1934" y="2543"/>
                </a:lnTo>
                <a:lnTo>
                  <a:pt x="1934" y="2276"/>
                </a:lnTo>
                <a:lnTo>
                  <a:pt x="1934" y="2077"/>
                </a:lnTo>
                <a:lnTo>
                  <a:pt x="1934" y="1933"/>
                </a:lnTo>
                <a:lnTo>
                  <a:pt x="1934" y="1837"/>
                </a:lnTo>
                <a:lnTo>
                  <a:pt x="1934" y="1779"/>
                </a:lnTo>
                <a:lnTo>
                  <a:pt x="1934" y="1749"/>
                </a:lnTo>
                <a:lnTo>
                  <a:pt x="1934" y="1738"/>
                </a:lnTo>
                <a:lnTo>
                  <a:pt x="1934" y="1736"/>
                </a:lnTo>
                <a:lnTo>
                  <a:pt x="2005" y="1736"/>
                </a:lnTo>
                <a:lnTo>
                  <a:pt x="2040" y="1736"/>
                </a:lnTo>
                <a:lnTo>
                  <a:pt x="2053" y="1736"/>
                </a:lnTo>
                <a:lnTo>
                  <a:pt x="2056" y="1736"/>
                </a:lnTo>
                <a:lnTo>
                  <a:pt x="2064" y="1736"/>
                </a:lnTo>
                <a:lnTo>
                  <a:pt x="2073" y="1735"/>
                </a:lnTo>
                <a:lnTo>
                  <a:pt x="2081" y="1732"/>
                </a:lnTo>
                <a:lnTo>
                  <a:pt x="2090" y="1729"/>
                </a:lnTo>
                <a:lnTo>
                  <a:pt x="2097" y="1725"/>
                </a:lnTo>
                <a:lnTo>
                  <a:pt x="2104" y="1721"/>
                </a:lnTo>
                <a:lnTo>
                  <a:pt x="2111" y="1715"/>
                </a:lnTo>
                <a:lnTo>
                  <a:pt x="2118" y="1709"/>
                </a:lnTo>
                <a:lnTo>
                  <a:pt x="2124" y="1703"/>
                </a:lnTo>
                <a:lnTo>
                  <a:pt x="2128" y="1696"/>
                </a:lnTo>
                <a:lnTo>
                  <a:pt x="2133" y="1688"/>
                </a:lnTo>
                <a:lnTo>
                  <a:pt x="2137" y="1681"/>
                </a:lnTo>
                <a:lnTo>
                  <a:pt x="2141" y="1672"/>
                </a:lnTo>
                <a:lnTo>
                  <a:pt x="2142" y="1664"/>
                </a:lnTo>
                <a:lnTo>
                  <a:pt x="2143" y="1655"/>
                </a:lnTo>
                <a:lnTo>
                  <a:pt x="2144" y="1645"/>
                </a:lnTo>
                <a:close/>
                <a:moveTo>
                  <a:pt x="3115" y="2056"/>
                </a:moveTo>
                <a:lnTo>
                  <a:pt x="3115" y="1776"/>
                </a:lnTo>
                <a:lnTo>
                  <a:pt x="3115" y="1567"/>
                </a:lnTo>
                <a:lnTo>
                  <a:pt x="3115" y="1417"/>
                </a:lnTo>
                <a:lnTo>
                  <a:pt x="3115" y="1315"/>
                </a:lnTo>
                <a:lnTo>
                  <a:pt x="3115" y="1254"/>
                </a:lnTo>
                <a:lnTo>
                  <a:pt x="3115" y="1224"/>
                </a:lnTo>
                <a:lnTo>
                  <a:pt x="3115" y="1211"/>
                </a:lnTo>
                <a:lnTo>
                  <a:pt x="3115" y="1210"/>
                </a:lnTo>
                <a:lnTo>
                  <a:pt x="3115" y="1200"/>
                </a:lnTo>
                <a:lnTo>
                  <a:pt x="3114" y="1192"/>
                </a:lnTo>
                <a:lnTo>
                  <a:pt x="3112" y="1183"/>
                </a:lnTo>
                <a:lnTo>
                  <a:pt x="3108" y="1175"/>
                </a:lnTo>
                <a:lnTo>
                  <a:pt x="3104" y="1167"/>
                </a:lnTo>
                <a:lnTo>
                  <a:pt x="3100" y="1160"/>
                </a:lnTo>
                <a:lnTo>
                  <a:pt x="3095" y="1153"/>
                </a:lnTo>
                <a:lnTo>
                  <a:pt x="3089" y="1147"/>
                </a:lnTo>
                <a:lnTo>
                  <a:pt x="3081" y="1141"/>
                </a:lnTo>
                <a:lnTo>
                  <a:pt x="3074" y="1136"/>
                </a:lnTo>
                <a:lnTo>
                  <a:pt x="3066" y="1131"/>
                </a:lnTo>
                <a:lnTo>
                  <a:pt x="3057" y="1127"/>
                </a:lnTo>
                <a:lnTo>
                  <a:pt x="3049" y="1123"/>
                </a:lnTo>
                <a:lnTo>
                  <a:pt x="3039" y="1122"/>
                </a:lnTo>
                <a:lnTo>
                  <a:pt x="3029" y="1120"/>
                </a:lnTo>
                <a:lnTo>
                  <a:pt x="3018" y="1120"/>
                </a:lnTo>
                <a:lnTo>
                  <a:pt x="3010" y="1120"/>
                </a:lnTo>
                <a:lnTo>
                  <a:pt x="3000" y="1122"/>
                </a:lnTo>
                <a:lnTo>
                  <a:pt x="2992" y="1123"/>
                </a:lnTo>
                <a:lnTo>
                  <a:pt x="2984" y="1127"/>
                </a:lnTo>
                <a:lnTo>
                  <a:pt x="2976" y="1131"/>
                </a:lnTo>
                <a:lnTo>
                  <a:pt x="2969" y="1136"/>
                </a:lnTo>
                <a:lnTo>
                  <a:pt x="2962" y="1141"/>
                </a:lnTo>
                <a:lnTo>
                  <a:pt x="2955" y="1147"/>
                </a:lnTo>
                <a:lnTo>
                  <a:pt x="2950" y="1153"/>
                </a:lnTo>
                <a:lnTo>
                  <a:pt x="2944" y="1160"/>
                </a:lnTo>
                <a:lnTo>
                  <a:pt x="2941" y="1167"/>
                </a:lnTo>
                <a:lnTo>
                  <a:pt x="2936" y="1175"/>
                </a:lnTo>
                <a:lnTo>
                  <a:pt x="2933" y="1183"/>
                </a:lnTo>
                <a:lnTo>
                  <a:pt x="2931" y="1192"/>
                </a:lnTo>
                <a:lnTo>
                  <a:pt x="2930" y="1200"/>
                </a:lnTo>
                <a:lnTo>
                  <a:pt x="2930" y="1210"/>
                </a:lnTo>
                <a:lnTo>
                  <a:pt x="2930" y="1460"/>
                </a:lnTo>
                <a:lnTo>
                  <a:pt x="2930" y="1647"/>
                </a:lnTo>
                <a:lnTo>
                  <a:pt x="2930" y="1781"/>
                </a:lnTo>
                <a:lnTo>
                  <a:pt x="2930" y="1872"/>
                </a:lnTo>
                <a:lnTo>
                  <a:pt x="2930" y="1925"/>
                </a:lnTo>
                <a:lnTo>
                  <a:pt x="2930" y="1954"/>
                </a:lnTo>
                <a:lnTo>
                  <a:pt x="2930" y="1965"/>
                </a:lnTo>
                <a:lnTo>
                  <a:pt x="2930" y="1966"/>
                </a:lnTo>
                <a:lnTo>
                  <a:pt x="2777" y="1966"/>
                </a:lnTo>
                <a:lnTo>
                  <a:pt x="2661" y="1966"/>
                </a:lnTo>
                <a:lnTo>
                  <a:pt x="2580" y="1966"/>
                </a:lnTo>
                <a:lnTo>
                  <a:pt x="2524" y="1966"/>
                </a:lnTo>
                <a:lnTo>
                  <a:pt x="2491" y="1966"/>
                </a:lnTo>
                <a:lnTo>
                  <a:pt x="2474" y="1966"/>
                </a:lnTo>
                <a:lnTo>
                  <a:pt x="2467" y="1966"/>
                </a:lnTo>
                <a:lnTo>
                  <a:pt x="2467" y="1966"/>
                </a:lnTo>
                <a:lnTo>
                  <a:pt x="2456" y="1966"/>
                </a:lnTo>
                <a:lnTo>
                  <a:pt x="2446" y="1967"/>
                </a:lnTo>
                <a:lnTo>
                  <a:pt x="2437" y="1969"/>
                </a:lnTo>
                <a:lnTo>
                  <a:pt x="2427" y="1973"/>
                </a:lnTo>
                <a:lnTo>
                  <a:pt x="2419" y="1977"/>
                </a:lnTo>
                <a:lnTo>
                  <a:pt x="2411" y="1982"/>
                </a:lnTo>
                <a:lnTo>
                  <a:pt x="2404" y="1987"/>
                </a:lnTo>
                <a:lnTo>
                  <a:pt x="2397" y="1993"/>
                </a:lnTo>
                <a:lnTo>
                  <a:pt x="2391" y="1999"/>
                </a:lnTo>
                <a:lnTo>
                  <a:pt x="2386" y="2006"/>
                </a:lnTo>
                <a:lnTo>
                  <a:pt x="2381" y="2013"/>
                </a:lnTo>
                <a:lnTo>
                  <a:pt x="2377" y="2021"/>
                </a:lnTo>
                <a:lnTo>
                  <a:pt x="2374" y="2029"/>
                </a:lnTo>
                <a:lnTo>
                  <a:pt x="2371" y="2038"/>
                </a:lnTo>
                <a:lnTo>
                  <a:pt x="2370" y="2046"/>
                </a:lnTo>
                <a:lnTo>
                  <a:pt x="2370" y="2056"/>
                </a:lnTo>
                <a:lnTo>
                  <a:pt x="2370" y="2071"/>
                </a:lnTo>
                <a:lnTo>
                  <a:pt x="2374" y="2086"/>
                </a:lnTo>
                <a:lnTo>
                  <a:pt x="2379" y="2098"/>
                </a:lnTo>
                <a:lnTo>
                  <a:pt x="2385" y="2110"/>
                </a:lnTo>
                <a:lnTo>
                  <a:pt x="2392" y="2121"/>
                </a:lnTo>
                <a:lnTo>
                  <a:pt x="2400" y="2131"/>
                </a:lnTo>
                <a:lnTo>
                  <a:pt x="2409" y="2139"/>
                </a:lnTo>
                <a:lnTo>
                  <a:pt x="2419" y="2147"/>
                </a:lnTo>
                <a:lnTo>
                  <a:pt x="2413" y="2157"/>
                </a:lnTo>
                <a:lnTo>
                  <a:pt x="2408" y="2168"/>
                </a:lnTo>
                <a:lnTo>
                  <a:pt x="2403" y="2180"/>
                </a:lnTo>
                <a:lnTo>
                  <a:pt x="2400" y="2193"/>
                </a:lnTo>
                <a:lnTo>
                  <a:pt x="2397" y="2208"/>
                </a:lnTo>
                <a:lnTo>
                  <a:pt x="2396" y="2223"/>
                </a:lnTo>
                <a:lnTo>
                  <a:pt x="2394" y="2237"/>
                </a:lnTo>
                <a:lnTo>
                  <a:pt x="2394" y="2253"/>
                </a:lnTo>
                <a:lnTo>
                  <a:pt x="2394" y="2340"/>
                </a:lnTo>
                <a:lnTo>
                  <a:pt x="2394" y="2405"/>
                </a:lnTo>
                <a:lnTo>
                  <a:pt x="2394" y="2452"/>
                </a:lnTo>
                <a:lnTo>
                  <a:pt x="2394" y="2483"/>
                </a:lnTo>
                <a:lnTo>
                  <a:pt x="2394" y="2503"/>
                </a:lnTo>
                <a:lnTo>
                  <a:pt x="2394" y="2512"/>
                </a:lnTo>
                <a:lnTo>
                  <a:pt x="2394" y="2516"/>
                </a:lnTo>
                <a:lnTo>
                  <a:pt x="2394" y="2516"/>
                </a:lnTo>
                <a:lnTo>
                  <a:pt x="2394" y="2523"/>
                </a:lnTo>
                <a:lnTo>
                  <a:pt x="2396" y="2532"/>
                </a:lnTo>
                <a:lnTo>
                  <a:pt x="2397" y="2539"/>
                </a:lnTo>
                <a:lnTo>
                  <a:pt x="2399" y="2547"/>
                </a:lnTo>
                <a:lnTo>
                  <a:pt x="2403" y="2554"/>
                </a:lnTo>
                <a:lnTo>
                  <a:pt x="2406" y="2560"/>
                </a:lnTo>
                <a:lnTo>
                  <a:pt x="2410" y="2566"/>
                </a:lnTo>
                <a:lnTo>
                  <a:pt x="2415" y="2572"/>
                </a:lnTo>
                <a:lnTo>
                  <a:pt x="2420" y="2578"/>
                </a:lnTo>
                <a:lnTo>
                  <a:pt x="2426" y="2583"/>
                </a:lnTo>
                <a:lnTo>
                  <a:pt x="2432" y="2587"/>
                </a:lnTo>
                <a:lnTo>
                  <a:pt x="2438" y="2591"/>
                </a:lnTo>
                <a:lnTo>
                  <a:pt x="2445" y="2594"/>
                </a:lnTo>
                <a:lnTo>
                  <a:pt x="2453" y="2597"/>
                </a:lnTo>
                <a:lnTo>
                  <a:pt x="2460" y="2598"/>
                </a:lnTo>
                <a:lnTo>
                  <a:pt x="2467" y="2598"/>
                </a:lnTo>
                <a:lnTo>
                  <a:pt x="2476" y="2598"/>
                </a:lnTo>
                <a:lnTo>
                  <a:pt x="2484" y="2597"/>
                </a:lnTo>
                <a:lnTo>
                  <a:pt x="2493" y="2594"/>
                </a:lnTo>
                <a:lnTo>
                  <a:pt x="2500" y="2591"/>
                </a:lnTo>
                <a:lnTo>
                  <a:pt x="2507" y="2587"/>
                </a:lnTo>
                <a:lnTo>
                  <a:pt x="2513" y="2583"/>
                </a:lnTo>
                <a:lnTo>
                  <a:pt x="2521" y="2578"/>
                </a:lnTo>
                <a:lnTo>
                  <a:pt x="2525" y="2572"/>
                </a:lnTo>
                <a:lnTo>
                  <a:pt x="2530" y="2566"/>
                </a:lnTo>
                <a:lnTo>
                  <a:pt x="2535" y="2560"/>
                </a:lnTo>
                <a:lnTo>
                  <a:pt x="2539" y="2554"/>
                </a:lnTo>
                <a:lnTo>
                  <a:pt x="2542" y="2547"/>
                </a:lnTo>
                <a:lnTo>
                  <a:pt x="2545" y="2539"/>
                </a:lnTo>
                <a:lnTo>
                  <a:pt x="2546" y="2532"/>
                </a:lnTo>
                <a:lnTo>
                  <a:pt x="2547" y="2523"/>
                </a:lnTo>
                <a:lnTo>
                  <a:pt x="2548" y="2516"/>
                </a:lnTo>
                <a:lnTo>
                  <a:pt x="2548" y="2429"/>
                </a:lnTo>
                <a:lnTo>
                  <a:pt x="2548" y="2364"/>
                </a:lnTo>
                <a:lnTo>
                  <a:pt x="2548" y="2318"/>
                </a:lnTo>
                <a:lnTo>
                  <a:pt x="2548" y="2286"/>
                </a:lnTo>
                <a:lnTo>
                  <a:pt x="2548" y="2267"/>
                </a:lnTo>
                <a:lnTo>
                  <a:pt x="2548" y="2257"/>
                </a:lnTo>
                <a:lnTo>
                  <a:pt x="2548" y="2253"/>
                </a:lnTo>
                <a:lnTo>
                  <a:pt x="2548" y="2253"/>
                </a:lnTo>
                <a:lnTo>
                  <a:pt x="2548" y="2246"/>
                </a:lnTo>
                <a:lnTo>
                  <a:pt x="2550" y="2238"/>
                </a:lnTo>
                <a:lnTo>
                  <a:pt x="2551" y="2232"/>
                </a:lnTo>
                <a:lnTo>
                  <a:pt x="2553" y="2225"/>
                </a:lnTo>
                <a:lnTo>
                  <a:pt x="2557" y="2220"/>
                </a:lnTo>
                <a:lnTo>
                  <a:pt x="2559" y="2214"/>
                </a:lnTo>
                <a:lnTo>
                  <a:pt x="2564" y="2209"/>
                </a:lnTo>
                <a:lnTo>
                  <a:pt x="2568" y="2205"/>
                </a:lnTo>
                <a:lnTo>
                  <a:pt x="2578" y="2197"/>
                </a:lnTo>
                <a:lnTo>
                  <a:pt x="2589" y="2192"/>
                </a:lnTo>
                <a:lnTo>
                  <a:pt x="2601" y="2188"/>
                </a:lnTo>
                <a:lnTo>
                  <a:pt x="2613" y="2187"/>
                </a:lnTo>
                <a:lnTo>
                  <a:pt x="2699" y="2187"/>
                </a:lnTo>
                <a:lnTo>
                  <a:pt x="2763" y="2187"/>
                </a:lnTo>
                <a:lnTo>
                  <a:pt x="2809" y="2187"/>
                </a:lnTo>
                <a:lnTo>
                  <a:pt x="2840" y="2187"/>
                </a:lnTo>
                <a:lnTo>
                  <a:pt x="2859" y="2187"/>
                </a:lnTo>
                <a:lnTo>
                  <a:pt x="2868" y="2187"/>
                </a:lnTo>
                <a:lnTo>
                  <a:pt x="2871" y="2187"/>
                </a:lnTo>
                <a:lnTo>
                  <a:pt x="2873" y="2187"/>
                </a:lnTo>
                <a:lnTo>
                  <a:pt x="2887" y="2188"/>
                </a:lnTo>
                <a:lnTo>
                  <a:pt x="2899" y="2192"/>
                </a:lnTo>
                <a:lnTo>
                  <a:pt x="2905" y="2194"/>
                </a:lnTo>
                <a:lnTo>
                  <a:pt x="2910" y="2197"/>
                </a:lnTo>
                <a:lnTo>
                  <a:pt x="2915" y="2201"/>
                </a:lnTo>
                <a:lnTo>
                  <a:pt x="2920" y="2205"/>
                </a:lnTo>
                <a:lnTo>
                  <a:pt x="2924" y="2209"/>
                </a:lnTo>
                <a:lnTo>
                  <a:pt x="2927" y="2214"/>
                </a:lnTo>
                <a:lnTo>
                  <a:pt x="2931" y="2220"/>
                </a:lnTo>
                <a:lnTo>
                  <a:pt x="2933" y="2225"/>
                </a:lnTo>
                <a:lnTo>
                  <a:pt x="2936" y="2238"/>
                </a:lnTo>
                <a:lnTo>
                  <a:pt x="2937" y="2253"/>
                </a:lnTo>
                <a:lnTo>
                  <a:pt x="2937" y="2340"/>
                </a:lnTo>
                <a:lnTo>
                  <a:pt x="2937" y="2405"/>
                </a:lnTo>
                <a:lnTo>
                  <a:pt x="2937" y="2452"/>
                </a:lnTo>
                <a:lnTo>
                  <a:pt x="2937" y="2483"/>
                </a:lnTo>
                <a:lnTo>
                  <a:pt x="2937" y="2503"/>
                </a:lnTo>
                <a:lnTo>
                  <a:pt x="2937" y="2512"/>
                </a:lnTo>
                <a:lnTo>
                  <a:pt x="2937" y="2516"/>
                </a:lnTo>
                <a:lnTo>
                  <a:pt x="2937" y="2516"/>
                </a:lnTo>
                <a:lnTo>
                  <a:pt x="2938" y="2523"/>
                </a:lnTo>
                <a:lnTo>
                  <a:pt x="2939" y="2532"/>
                </a:lnTo>
                <a:lnTo>
                  <a:pt x="2942" y="2539"/>
                </a:lnTo>
                <a:lnTo>
                  <a:pt x="2944" y="2547"/>
                </a:lnTo>
                <a:lnTo>
                  <a:pt x="2948" y="2554"/>
                </a:lnTo>
                <a:lnTo>
                  <a:pt x="2953" y="2560"/>
                </a:lnTo>
                <a:lnTo>
                  <a:pt x="2958" y="2566"/>
                </a:lnTo>
                <a:lnTo>
                  <a:pt x="2962" y="2572"/>
                </a:lnTo>
                <a:lnTo>
                  <a:pt x="2969" y="2578"/>
                </a:lnTo>
                <a:lnTo>
                  <a:pt x="2975" y="2583"/>
                </a:lnTo>
                <a:lnTo>
                  <a:pt x="2982" y="2587"/>
                </a:lnTo>
                <a:lnTo>
                  <a:pt x="2989" y="2591"/>
                </a:lnTo>
                <a:lnTo>
                  <a:pt x="2995" y="2594"/>
                </a:lnTo>
                <a:lnTo>
                  <a:pt x="3004" y="2597"/>
                </a:lnTo>
                <a:lnTo>
                  <a:pt x="3011" y="2598"/>
                </a:lnTo>
                <a:lnTo>
                  <a:pt x="3018" y="2598"/>
                </a:lnTo>
                <a:lnTo>
                  <a:pt x="3026" y="2598"/>
                </a:lnTo>
                <a:lnTo>
                  <a:pt x="3034" y="2597"/>
                </a:lnTo>
                <a:lnTo>
                  <a:pt x="3041" y="2594"/>
                </a:lnTo>
                <a:lnTo>
                  <a:pt x="3049" y="2591"/>
                </a:lnTo>
                <a:lnTo>
                  <a:pt x="3055" y="2587"/>
                </a:lnTo>
                <a:lnTo>
                  <a:pt x="3062" y="2583"/>
                </a:lnTo>
                <a:lnTo>
                  <a:pt x="3068" y="2578"/>
                </a:lnTo>
                <a:lnTo>
                  <a:pt x="3074" y="2572"/>
                </a:lnTo>
                <a:lnTo>
                  <a:pt x="3079" y="2566"/>
                </a:lnTo>
                <a:lnTo>
                  <a:pt x="3085" y="2560"/>
                </a:lnTo>
                <a:lnTo>
                  <a:pt x="3089" y="2554"/>
                </a:lnTo>
                <a:lnTo>
                  <a:pt x="3092" y="2547"/>
                </a:lnTo>
                <a:lnTo>
                  <a:pt x="3096" y="2539"/>
                </a:lnTo>
                <a:lnTo>
                  <a:pt x="3097" y="2532"/>
                </a:lnTo>
                <a:lnTo>
                  <a:pt x="3100" y="2523"/>
                </a:lnTo>
                <a:lnTo>
                  <a:pt x="3100" y="2516"/>
                </a:lnTo>
                <a:lnTo>
                  <a:pt x="3100" y="2429"/>
                </a:lnTo>
                <a:lnTo>
                  <a:pt x="3100" y="2364"/>
                </a:lnTo>
                <a:lnTo>
                  <a:pt x="3100" y="2318"/>
                </a:lnTo>
                <a:lnTo>
                  <a:pt x="3100" y="2286"/>
                </a:lnTo>
                <a:lnTo>
                  <a:pt x="3100" y="2267"/>
                </a:lnTo>
                <a:lnTo>
                  <a:pt x="3100" y="2257"/>
                </a:lnTo>
                <a:lnTo>
                  <a:pt x="3100" y="2253"/>
                </a:lnTo>
                <a:lnTo>
                  <a:pt x="3100" y="2253"/>
                </a:lnTo>
                <a:lnTo>
                  <a:pt x="3098" y="2237"/>
                </a:lnTo>
                <a:lnTo>
                  <a:pt x="3097" y="2223"/>
                </a:lnTo>
                <a:lnTo>
                  <a:pt x="3094" y="2208"/>
                </a:lnTo>
                <a:lnTo>
                  <a:pt x="3090" y="2193"/>
                </a:lnTo>
                <a:lnTo>
                  <a:pt x="3079" y="2164"/>
                </a:lnTo>
                <a:lnTo>
                  <a:pt x="3067" y="2138"/>
                </a:lnTo>
                <a:lnTo>
                  <a:pt x="3077" y="2132"/>
                </a:lnTo>
                <a:lnTo>
                  <a:pt x="3085" y="2125"/>
                </a:lnTo>
                <a:lnTo>
                  <a:pt x="3094" y="2116"/>
                </a:lnTo>
                <a:lnTo>
                  <a:pt x="3101" y="2106"/>
                </a:lnTo>
                <a:lnTo>
                  <a:pt x="3107" y="2095"/>
                </a:lnTo>
                <a:lnTo>
                  <a:pt x="3112" y="2084"/>
                </a:lnTo>
                <a:lnTo>
                  <a:pt x="3114" y="2071"/>
                </a:lnTo>
                <a:lnTo>
                  <a:pt x="3115" y="2056"/>
                </a:lnTo>
                <a:close/>
                <a:moveTo>
                  <a:pt x="2654" y="1933"/>
                </a:moveTo>
                <a:lnTo>
                  <a:pt x="2675" y="1932"/>
                </a:lnTo>
                <a:lnTo>
                  <a:pt x="2694" y="1929"/>
                </a:lnTo>
                <a:lnTo>
                  <a:pt x="2715" y="1925"/>
                </a:lnTo>
                <a:lnTo>
                  <a:pt x="2734" y="1919"/>
                </a:lnTo>
                <a:lnTo>
                  <a:pt x="2754" y="1912"/>
                </a:lnTo>
                <a:lnTo>
                  <a:pt x="2772" y="1903"/>
                </a:lnTo>
                <a:lnTo>
                  <a:pt x="2790" y="1894"/>
                </a:lnTo>
                <a:lnTo>
                  <a:pt x="2807" y="1881"/>
                </a:lnTo>
                <a:lnTo>
                  <a:pt x="2823" y="1869"/>
                </a:lnTo>
                <a:lnTo>
                  <a:pt x="2837" y="1855"/>
                </a:lnTo>
                <a:lnTo>
                  <a:pt x="2850" y="1839"/>
                </a:lnTo>
                <a:lnTo>
                  <a:pt x="2860" y="1823"/>
                </a:lnTo>
                <a:lnTo>
                  <a:pt x="2865" y="1813"/>
                </a:lnTo>
                <a:lnTo>
                  <a:pt x="2869" y="1804"/>
                </a:lnTo>
                <a:lnTo>
                  <a:pt x="2873" y="1795"/>
                </a:lnTo>
                <a:lnTo>
                  <a:pt x="2876" y="1785"/>
                </a:lnTo>
                <a:lnTo>
                  <a:pt x="2879" y="1775"/>
                </a:lnTo>
                <a:lnTo>
                  <a:pt x="2880" y="1765"/>
                </a:lnTo>
                <a:lnTo>
                  <a:pt x="2881" y="1756"/>
                </a:lnTo>
                <a:lnTo>
                  <a:pt x="2881" y="1745"/>
                </a:lnTo>
                <a:lnTo>
                  <a:pt x="2881" y="1566"/>
                </a:lnTo>
                <a:lnTo>
                  <a:pt x="2881" y="1432"/>
                </a:lnTo>
                <a:lnTo>
                  <a:pt x="2881" y="1336"/>
                </a:lnTo>
                <a:lnTo>
                  <a:pt x="2881" y="1271"/>
                </a:lnTo>
                <a:lnTo>
                  <a:pt x="2881" y="1232"/>
                </a:lnTo>
                <a:lnTo>
                  <a:pt x="2881" y="1213"/>
                </a:lnTo>
                <a:lnTo>
                  <a:pt x="2881" y="1205"/>
                </a:lnTo>
                <a:lnTo>
                  <a:pt x="2881" y="1204"/>
                </a:lnTo>
                <a:lnTo>
                  <a:pt x="2880" y="1186"/>
                </a:lnTo>
                <a:lnTo>
                  <a:pt x="2877" y="1169"/>
                </a:lnTo>
                <a:lnTo>
                  <a:pt x="2873" y="1152"/>
                </a:lnTo>
                <a:lnTo>
                  <a:pt x="2867" y="1137"/>
                </a:lnTo>
                <a:lnTo>
                  <a:pt x="2858" y="1122"/>
                </a:lnTo>
                <a:lnTo>
                  <a:pt x="2848" y="1108"/>
                </a:lnTo>
                <a:lnTo>
                  <a:pt x="2839" y="1095"/>
                </a:lnTo>
                <a:lnTo>
                  <a:pt x="2826" y="1083"/>
                </a:lnTo>
                <a:lnTo>
                  <a:pt x="2814" y="1072"/>
                </a:lnTo>
                <a:lnTo>
                  <a:pt x="2801" y="1062"/>
                </a:lnTo>
                <a:lnTo>
                  <a:pt x="2786" y="1053"/>
                </a:lnTo>
                <a:lnTo>
                  <a:pt x="2772" y="1045"/>
                </a:lnTo>
                <a:lnTo>
                  <a:pt x="2757" y="1038"/>
                </a:lnTo>
                <a:lnTo>
                  <a:pt x="2741" y="1032"/>
                </a:lnTo>
                <a:lnTo>
                  <a:pt x="2727" y="1027"/>
                </a:lnTo>
                <a:lnTo>
                  <a:pt x="2711" y="1023"/>
                </a:lnTo>
                <a:lnTo>
                  <a:pt x="2706" y="1022"/>
                </a:lnTo>
                <a:lnTo>
                  <a:pt x="2692" y="1020"/>
                </a:lnTo>
                <a:lnTo>
                  <a:pt x="2674" y="1017"/>
                </a:lnTo>
                <a:lnTo>
                  <a:pt x="2654" y="1016"/>
                </a:lnTo>
                <a:lnTo>
                  <a:pt x="2637" y="1017"/>
                </a:lnTo>
                <a:lnTo>
                  <a:pt x="2621" y="1020"/>
                </a:lnTo>
                <a:lnTo>
                  <a:pt x="2610" y="1022"/>
                </a:lnTo>
                <a:lnTo>
                  <a:pt x="2606" y="1023"/>
                </a:lnTo>
                <a:lnTo>
                  <a:pt x="2585" y="1028"/>
                </a:lnTo>
                <a:lnTo>
                  <a:pt x="2564" y="1034"/>
                </a:lnTo>
                <a:lnTo>
                  <a:pt x="2544" y="1043"/>
                </a:lnTo>
                <a:lnTo>
                  <a:pt x="2524" y="1054"/>
                </a:lnTo>
                <a:lnTo>
                  <a:pt x="2506" y="1066"/>
                </a:lnTo>
                <a:lnTo>
                  <a:pt x="2489" y="1081"/>
                </a:lnTo>
                <a:lnTo>
                  <a:pt x="2480" y="1088"/>
                </a:lnTo>
                <a:lnTo>
                  <a:pt x="2473" y="1097"/>
                </a:lnTo>
                <a:lnTo>
                  <a:pt x="2466" y="1105"/>
                </a:lnTo>
                <a:lnTo>
                  <a:pt x="2460" y="1114"/>
                </a:lnTo>
                <a:lnTo>
                  <a:pt x="2460" y="1121"/>
                </a:lnTo>
                <a:lnTo>
                  <a:pt x="2460" y="1122"/>
                </a:lnTo>
                <a:lnTo>
                  <a:pt x="2431" y="1163"/>
                </a:lnTo>
                <a:lnTo>
                  <a:pt x="2404" y="1199"/>
                </a:lnTo>
                <a:lnTo>
                  <a:pt x="2380" y="1231"/>
                </a:lnTo>
                <a:lnTo>
                  <a:pt x="2358" y="1260"/>
                </a:lnTo>
                <a:lnTo>
                  <a:pt x="2336" y="1284"/>
                </a:lnTo>
                <a:lnTo>
                  <a:pt x="2315" y="1304"/>
                </a:lnTo>
                <a:lnTo>
                  <a:pt x="2304" y="1313"/>
                </a:lnTo>
                <a:lnTo>
                  <a:pt x="2295" y="1322"/>
                </a:lnTo>
                <a:lnTo>
                  <a:pt x="2285" y="1328"/>
                </a:lnTo>
                <a:lnTo>
                  <a:pt x="2275" y="1334"/>
                </a:lnTo>
                <a:lnTo>
                  <a:pt x="2264" y="1339"/>
                </a:lnTo>
                <a:lnTo>
                  <a:pt x="2255" y="1344"/>
                </a:lnTo>
                <a:lnTo>
                  <a:pt x="2244" y="1347"/>
                </a:lnTo>
                <a:lnTo>
                  <a:pt x="2234" y="1350"/>
                </a:lnTo>
                <a:lnTo>
                  <a:pt x="2223" y="1351"/>
                </a:lnTo>
                <a:lnTo>
                  <a:pt x="2211" y="1352"/>
                </a:lnTo>
                <a:lnTo>
                  <a:pt x="2200" y="1352"/>
                </a:lnTo>
                <a:lnTo>
                  <a:pt x="2188" y="1351"/>
                </a:lnTo>
                <a:lnTo>
                  <a:pt x="2176" y="1350"/>
                </a:lnTo>
                <a:lnTo>
                  <a:pt x="2162" y="1347"/>
                </a:lnTo>
                <a:lnTo>
                  <a:pt x="2149" y="1345"/>
                </a:lnTo>
                <a:lnTo>
                  <a:pt x="2134" y="1341"/>
                </a:lnTo>
                <a:lnTo>
                  <a:pt x="2105" y="1331"/>
                </a:lnTo>
                <a:lnTo>
                  <a:pt x="2071" y="1319"/>
                </a:lnTo>
                <a:lnTo>
                  <a:pt x="2063" y="1314"/>
                </a:lnTo>
                <a:lnTo>
                  <a:pt x="2053" y="1312"/>
                </a:lnTo>
                <a:lnTo>
                  <a:pt x="2043" y="1309"/>
                </a:lnTo>
                <a:lnTo>
                  <a:pt x="2035" y="1309"/>
                </a:lnTo>
                <a:lnTo>
                  <a:pt x="2025" y="1309"/>
                </a:lnTo>
                <a:lnTo>
                  <a:pt x="2016" y="1311"/>
                </a:lnTo>
                <a:lnTo>
                  <a:pt x="2007" y="1313"/>
                </a:lnTo>
                <a:lnTo>
                  <a:pt x="1999" y="1315"/>
                </a:lnTo>
                <a:lnTo>
                  <a:pt x="1990" y="1319"/>
                </a:lnTo>
                <a:lnTo>
                  <a:pt x="1983" y="1324"/>
                </a:lnTo>
                <a:lnTo>
                  <a:pt x="1975" y="1330"/>
                </a:lnTo>
                <a:lnTo>
                  <a:pt x="1969" y="1336"/>
                </a:lnTo>
                <a:lnTo>
                  <a:pt x="1963" y="1342"/>
                </a:lnTo>
                <a:lnTo>
                  <a:pt x="1958" y="1351"/>
                </a:lnTo>
                <a:lnTo>
                  <a:pt x="1954" y="1358"/>
                </a:lnTo>
                <a:lnTo>
                  <a:pt x="1950" y="1368"/>
                </a:lnTo>
                <a:lnTo>
                  <a:pt x="1948" y="1377"/>
                </a:lnTo>
                <a:lnTo>
                  <a:pt x="1946" y="1386"/>
                </a:lnTo>
                <a:lnTo>
                  <a:pt x="1945" y="1396"/>
                </a:lnTo>
                <a:lnTo>
                  <a:pt x="1945" y="1406"/>
                </a:lnTo>
                <a:lnTo>
                  <a:pt x="1946" y="1414"/>
                </a:lnTo>
                <a:lnTo>
                  <a:pt x="1948" y="1424"/>
                </a:lnTo>
                <a:lnTo>
                  <a:pt x="1951" y="1433"/>
                </a:lnTo>
                <a:lnTo>
                  <a:pt x="1954" y="1441"/>
                </a:lnTo>
                <a:lnTo>
                  <a:pt x="1958" y="1450"/>
                </a:lnTo>
                <a:lnTo>
                  <a:pt x="1963" y="1457"/>
                </a:lnTo>
                <a:lnTo>
                  <a:pt x="1969" y="1465"/>
                </a:lnTo>
                <a:lnTo>
                  <a:pt x="1975" y="1472"/>
                </a:lnTo>
                <a:lnTo>
                  <a:pt x="1982" y="1477"/>
                </a:lnTo>
                <a:lnTo>
                  <a:pt x="1990" y="1483"/>
                </a:lnTo>
                <a:lnTo>
                  <a:pt x="1999" y="1487"/>
                </a:lnTo>
                <a:lnTo>
                  <a:pt x="2007" y="1490"/>
                </a:lnTo>
                <a:lnTo>
                  <a:pt x="2034" y="1502"/>
                </a:lnTo>
                <a:lnTo>
                  <a:pt x="2060" y="1512"/>
                </a:lnTo>
                <a:lnTo>
                  <a:pt x="2085" y="1521"/>
                </a:lnTo>
                <a:lnTo>
                  <a:pt x="2110" y="1527"/>
                </a:lnTo>
                <a:lnTo>
                  <a:pt x="2134" y="1533"/>
                </a:lnTo>
                <a:lnTo>
                  <a:pt x="2158" y="1537"/>
                </a:lnTo>
                <a:lnTo>
                  <a:pt x="2179" y="1539"/>
                </a:lnTo>
                <a:lnTo>
                  <a:pt x="2201" y="1539"/>
                </a:lnTo>
                <a:lnTo>
                  <a:pt x="2219" y="1539"/>
                </a:lnTo>
                <a:lnTo>
                  <a:pt x="2236" y="1538"/>
                </a:lnTo>
                <a:lnTo>
                  <a:pt x="2253" y="1535"/>
                </a:lnTo>
                <a:lnTo>
                  <a:pt x="2269" y="1532"/>
                </a:lnTo>
                <a:lnTo>
                  <a:pt x="2285" y="1528"/>
                </a:lnTo>
                <a:lnTo>
                  <a:pt x="2301" y="1523"/>
                </a:lnTo>
                <a:lnTo>
                  <a:pt x="2317" y="1518"/>
                </a:lnTo>
                <a:lnTo>
                  <a:pt x="2331" y="1512"/>
                </a:lnTo>
                <a:lnTo>
                  <a:pt x="2345" y="1505"/>
                </a:lnTo>
                <a:lnTo>
                  <a:pt x="2359" y="1498"/>
                </a:lnTo>
                <a:lnTo>
                  <a:pt x="2372" y="1489"/>
                </a:lnTo>
                <a:lnTo>
                  <a:pt x="2386" y="1480"/>
                </a:lnTo>
                <a:lnTo>
                  <a:pt x="2411" y="1462"/>
                </a:lnTo>
                <a:lnTo>
                  <a:pt x="2436" y="1441"/>
                </a:lnTo>
                <a:lnTo>
                  <a:pt x="2436" y="1531"/>
                </a:lnTo>
                <a:lnTo>
                  <a:pt x="2436" y="1598"/>
                </a:lnTo>
                <a:lnTo>
                  <a:pt x="2436" y="1645"/>
                </a:lnTo>
                <a:lnTo>
                  <a:pt x="2436" y="1677"/>
                </a:lnTo>
                <a:lnTo>
                  <a:pt x="2436" y="1697"/>
                </a:lnTo>
                <a:lnTo>
                  <a:pt x="2436" y="1708"/>
                </a:lnTo>
                <a:lnTo>
                  <a:pt x="2436" y="1712"/>
                </a:lnTo>
                <a:lnTo>
                  <a:pt x="2436" y="1712"/>
                </a:lnTo>
                <a:lnTo>
                  <a:pt x="2371" y="1712"/>
                </a:lnTo>
                <a:lnTo>
                  <a:pt x="2324" y="1712"/>
                </a:lnTo>
                <a:lnTo>
                  <a:pt x="2289" y="1712"/>
                </a:lnTo>
                <a:lnTo>
                  <a:pt x="2266" y="1712"/>
                </a:lnTo>
                <a:lnTo>
                  <a:pt x="2252" y="1712"/>
                </a:lnTo>
                <a:lnTo>
                  <a:pt x="2245" y="1712"/>
                </a:lnTo>
                <a:lnTo>
                  <a:pt x="2241" y="1712"/>
                </a:lnTo>
                <a:lnTo>
                  <a:pt x="2241" y="1712"/>
                </a:lnTo>
                <a:lnTo>
                  <a:pt x="2232" y="1713"/>
                </a:lnTo>
                <a:lnTo>
                  <a:pt x="2221" y="1714"/>
                </a:lnTo>
                <a:lnTo>
                  <a:pt x="2211" y="1716"/>
                </a:lnTo>
                <a:lnTo>
                  <a:pt x="2202" y="1719"/>
                </a:lnTo>
                <a:lnTo>
                  <a:pt x="2194" y="1723"/>
                </a:lnTo>
                <a:lnTo>
                  <a:pt x="2185" y="1727"/>
                </a:lnTo>
                <a:lnTo>
                  <a:pt x="2178" y="1734"/>
                </a:lnTo>
                <a:lnTo>
                  <a:pt x="2171" y="1740"/>
                </a:lnTo>
                <a:lnTo>
                  <a:pt x="2164" y="1746"/>
                </a:lnTo>
                <a:lnTo>
                  <a:pt x="2159" y="1753"/>
                </a:lnTo>
                <a:lnTo>
                  <a:pt x="2153" y="1762"/>
                </a:lnTo>
                <a:lnTo>
                  <a:pt x="2148" y="1770"/>
                </a:lnTo>
                <a:lnTo>
                  <a:pt x="2144" y="1780"/>
                </a:lnTo>
                <a:lnTo>
                  <a:pt x="2141" y="1790"/>
                </a:lnTo>
                <a:lnTo>
                  <a:pt x="2138" y="1800"/>
                </a:lnTo>
                <a:lnTo>
                  <a:pt x="2137" y="1809"/>
                </a:lnTo>
                <a:lnTo>
                  <a:pt x="2113" y="2023"/>
                </a:lnTo>
                <a:lnTo>
                  <a:pt x="2094" y="2183"/>
                </a:lnTo>
                <a:lnTo>
                  <a:pt x="2081" y="2298"/>
                </a:lnTo>
                <a:lnTo>
                  <a:pt x="2073" y="2377"/>
                </a:lnTo>
                <a:lnTo>
                  <a:pt x="2068" y="2423"/>
                </a:lnTo>
                <a:lnTo>
                  <a:pt x="2064" y="2446"/>
                </a:lnTo>
                <a:lnTo>
                  <a:pt x="2064" y="2456"/>
                </a:lnTo>
                <a:lnTo>
                  <a:pt x="2063" y="2457"/>
                </a:lnTo>
                <a:lnTo>
                  <a:pt x="2063" y="2470"/>
                </a:lnTo>
                <a:lnTo>
                  <a:pt x="2063" y="2481"/>
                </a:lnTo>
                <a:lnTo>
                  <a:pt x="2064" y="2492"/>
                </a:lnTo>
                <a:lnTo>
                  <a:pt x="2067" y="2503"/>
                </a:lnTo>
                <a:lnTo>
                  <a:pt x="2069" y="2512"/>
                </a:lnTo>
                <a:lnTo>
                  <a:pt x="2074" y="2522"/>
                </a:lnTo>
                <a:lnTo>
                  <a:pt x="2079" y="2532"/>
                </a:lnTo>
                <a:lnTo>
                  <a:pt x="2085" y="2539"/>
                </a:lnTo>
                <a:lnTo>
                  <a:pt x="2092" y="2548"/>
                </a:lnTo>
                <a:lnTo>
                  <a:pt x="2099" y="2555"/>
                </a:lnTo>
                <a:lnTo>
                  <a:pt x="2108" y="2561"/>
                </a:lnTo>
                <a:lnTo>
                  <a:pt x="2118" y="2566"/>
                </a:lnTo>
                <a:lnTo>
                  <a:pt x="2127" y="2571"/>
                </a:lnTo>
                <a:lnTo>
                  <a:pt x="2137" y="2575"/>
                </a:lnTo>
                <a:lnTo>
                  <a:pt x="2149" y="2578"/>
                </a:lnTo>
                <a:lnTo>
                  <a:pt x="2161" y="2580"/>
                </a:lnTo>
                <a:lnTo>
                  <a:pt x="2168" y="2580"/>
                </a:lnTo>
                <a:lnTo>
                  <a:pt x="2179" y="2580"/>
                </a:lnTo>
                <a:lnTo>
                  <a:pt x="2189" y="2578"/>
                </a:lnTo>
                <a:lnTo>
                  <a:pt x="2200" y="2576"/>
                </a:lnTo>
                <a:lnTo>
                  <a:pt x="2210" y="2572"/>
                </a:lnTo>
                <a:lnTo>
                  <a:pt x="2218" y="2569"/>
                </a:lnTo>
                <a:lnTo>
                  <a:pt x="2227" y="2564"/>
                </a:lnTo>
                <a:lnTo>
                  <a:pt x="2235" y="2559"/>
                </a:lnTo>
                <a:lnTo>
                  <a:pt x="2244" y="2553"/>
                </a:lnTo>
                <a:lnTo>
                  <a:pt x="2251" y="2545"/>
                </a:lnTo>
                <a:lnTo>
                  <a:pt x="2257" y="2538"/>
                </a:lnTo>
                <a:lnTo>
                  <a:pt x="2263" y="2529"/>
                </a:lnTo>
                <a:lnTo>
                  <a:pt x="2269" y="2521"/>
                </a:lnTo>
                <a:lnTo>
                  <a:pt x="2273" y="2512"/>
                </a:lnTo>
                <a:lnTo>
                  <a:pt x="2278" y="2503"/>
                </a:lnTo>
                <a:lnTo>
                  <a:pt x="2280" y="2492"/>
                </a:lnTo>
                <a:lnTo>
                  <a:pt x="2283" y="2482"/>
                </a:lnTo>
                <a:lnTo>
                  <a:pt x="2303" y="2301"/>
                </a:lnTo>
                <a:lnTo>
                  <a:pt x="2319" y="2164"/>
                </a:lnTo>
                <a:lnTo>
                  <a:pt x="2331" y="2067"/>
                </a:lnTo>
                <a:lnTo>
                  <a:pt x="2338" y="2001"/>
                </a:lnTo>
                <a:lnTo>
                  <a:pt x="2343" y="1962"/>
                </a:lnTo>
                <a:lnTo>
                  <a:pt x="2346" y="1941"/>
                </a:lnTo>
                <a:lnTo>
                  <a:pt x="2347" y="1934"/>
                </a:lnTo>
                <a:lnTo>
                  <a:pt x="2347" y="1933"/>
                </a:lnTo>
                <a:lnTo>
                  <a:pt x="2443" y="1933"/>
                </a:lnTo>
                <a:lnTo>
                  <a:pt x="2516" y="1933"/>
                </a:lnTo>
                <a:lnTo>
                  <a:pt x="2567" y="1933"/>
                </a:lnTo>
                <a:lnTo>
                  <a:pt x="2602" y="1933"/>
                </a:lnTo>
                <a:lnTo>
                  <a:pt x="2623" y="1933"/>
                </a:lnTo>
                <a:lnTo>
                  <a:pt x="2633" y="1933"/>
                </a:lnTo>
                <a:lnTo>
                  <a:pt x="2638" y="1933"/>
                </a:lnTo>
                <a:lnTo>
                  <a:pt x="2638" y="1933"/>
                </a:lnTo>
                <a:lnTo>
                  <a:pt x="2649" y="1933"/>
                </a:lnTo>
                <a:lnTo>
                  <a:pt x="2654" y="1933"/>
                </a:lnTo>
                <a:close/>
                <a:moveTo>
                  <a:pt x="2845" y="763"/>
                </a:moveTo>
                <a:lnTo>
                  <a:pt x="2843" y="787"/>
                </a:lnTo>
                <a:lnTo>
                  <a:pt x="2840" y="810"/>
                </a:lnTo>
                <a:lnTo>
                  <a:pt x="2834" y="834"/>
                </a:lnTo>
                <a:lnTo>
                  <a:pt x="2826" y="857"/>
                </a:lnTo>
                <a:lnTo>
                  <a:pt x="2816" y="878"/>
                </a:lnTo>
                <a:lnTo>
                  <a:pt x="2803" y="898"/>
                </a:lnTo>
                <a:lnTo>
                  <a:pt x="2790" y="918"/>
                </a:lnTo>
                <a:lnTo>
                  <a:pt x="2774" y="935"/>
                </a:lnTo>
                <a:lnTo>
                  <a:pt x="2758" y="951"/>
                </a:lnTo>
                <a:lnTo>
                  <a:pt x="2739" y="966"/>
                </a:lnTo>
                <a:lnTo>
                  <a:pt x="2720" y="979"/>
                </a:lnTo>
                <a:lnTo>
                  <a:pt x="2699" y="989"/>
                </a:lnTo>
                <a:lnTo>
                  <a:pt x="2677" y="998"/>
                </a:lnTo>
                <a:lnTo>
                  <a:pt x="2654" y="1004"/>
                </a:lnTo>
                <a:lnTo>
                  <a:pt x="2643" y="1006"/>
                </a:lnTo>
                <a:lnTo>
                  <a:pt x="2631" y="1009"/>
                </a:lnTo>
                <a:lnTo>
                  <a:pt x="2619" y="1009"/>
                </a:lnTo>
                <a:lnTo>
                  <a:pt x="2607" y="1010"/>
                </a:lnTo>
                <a:lnTo>
                  <a:pt x="2593" y="1009"/>
                </a:lnTo>
                <a:lnTo>
                  <a:pt x="2581" y="1009"/>
                </a:lnTo>
                <a:lnTo>
                  <a:pt x="2568" y="1006"/>
                </a:lnTo>
                <a:lnTo>
                  <a:pt x="2556" y="1004"/>
                </a:lnTo>
                <a:lnTo>
                  <a:pt x="2544" y="1001"/>
                </a:lnTo>
                <a:lnTo>
                  <a:pt x="2531" y="998"/>
                </a:lnTo>
                <a:lnTo>
                  <a:pt x="2521" y="994"/>
                </a:lnTo>
                <a:lnTo>
                  <a:pt x="2510" y="989"/>
                </a:lnTo>
                <a:lnTo>
                  <a:pt x="2488" y="979"/>
                </a:lnTo>
                <a:lnTo>
                  <a:pt x="2467" y="966"/>
                </a:lnTo>
                <a:lnTo>
                  <a:pt x="2449" y="951"/>
                </a:lnTo>
                <a:lnTo>
                  <a:pt x="2431" y="935"/>
                </a:lnTo>
                <a:lnTo>
                  <a:pt x="2415" y="918"/>
                </a:lnTo>
                <a:lnTo>
                  <a:pt x="2402" y="898"/>
                </a:lnTo>
                <a:lnTo>
                  <a:pt x="2389" y="878"/>
                </a:lnTo>
                <a:lnTo>
                  <a:pt x="2380" y="857"/>
                </a:lnTo>
                <a:lnTo>
                  <a:pt x="2371" y="834"/>
                </a:lnTo>
                <a:lnTo>
                  <a:pt x="2365" y="810"/>
                </a:lnTo>
                <a:lnTo>
                  <a:pt x="2363" y="799"/>
                </a:lnTo>
                <a:lnTo>
                  <a:pt x="2362" y="787"/>
                </a:lnTo>
                <a:lnTo>
                  <a:pt x="2360" y="775"/>
                </a:lnTo>
                <a:lnTo>
                  <a:pt x="2360" y="763"/>
                </a:lnTo>
                <a:lnTo>
                  <a:pt x="2360" y="751"/>
                </a:lnTo>
                <a:lnTo>
                  <a:pt x="2362" y="738"/>
                </a:lnTo>
                <a:lnTo>
                  <a:pt x="2363" y="726"/>
                </a:lnTo>
                <a:lnTo>
                  <a:pt x="2365" y="714"/>
                </a:lnTo>
                <a:lnTo>
                  <a:pt x="2371" y="691"/>
                </a:lnTo>
                <a:lnTo>
                  <a:pt x="2380" y="669"/>
                </a:lnTo>
                <a:lnTo>
                  <a:pt x="2389" y="647"/>
                </a:lnTo>
                <a:lnTo>
                  <a:pt x="2402" y="627"/>
                </a:lnTo>
                <a:lnTo>
                  <a:pt x="2415" y="608"/>
                </a:lnTo>
                <a:lnTo>
                  <a:pt x="2431" y="589"/>
                </a:lnTo>
                <a:lnTo>
                  <a:pt x="2449" y="573"/>
                </a:lnTo>
                <a:lnTo>
                  <a:pt x="2467" y="559"/>
                </a:lnTo>
                <a:lnTo>
                  <a:pt x="2488" y="546"/>
                </a:lnTo>
                <a:lnTo>
                  <a:pt x="2510" y="535"/>
                </a:lnTo>
                <a:lnTo>
                  <a:pt x="2521" y="530"/>
                </a:lnTo>
                <a:lnTo>
                  <a:pt x="2531" y="527"/>
                </a:lnTo>
                <a:lnTo>
                  <a:pt x="2544" y="523"/>
                </a:lnTo>
                <a:lnTo>
                  <a:pt x="2556" y="521"/>
                </a:lnTo>
                <a:lnTo>
                  <a:pt x="2568" y="518"/>
                </a:lnTo>
                <a:lnTo>
                  <a:pt x="2581" y="517"/>
                </a:lnTo>
                <a:lnTo>
                  <a:pt x="2593" y="516"/>
                </a:lnTo>
                <a:lnTo>
                  <a:pt x="2607" y="516"/>
                </a:lnTo>
                <a:lnTo>
                  <a:pt x="2619" y="516"/>
                </a:lnTo>
                <a:lnTo>
                  <a:pt x="2631" y="517"/>
                </a:lnTo>
                <a:lnTo>
                  <a:pt x="2643" y="518"/>
                </a:lnTo>
                <a:lnTo>
                  <a:pt x="2654" y="521"/>
                </a:lnTo>
                <a:lnTo>
                  <a:pt x="2677" y="527"/>
                </a:lnTo>
                <a:lnTo>
                  <a:pt x="2699" y="535"/>
                </a:lnTo>
                <a:lnTo>
                  <a:pt x="2720" y="546"/>
                </a:lnTo>
                <a:lnTo>
                  <a:pt x="2739" y="559"/>
                </a:lnTo>
                <a:lnTo>
                  <a:pt x="2758" y="573"/>
                </a:lnTo>
                <a:lnTo>
                  <a:pt x="2774" y="589"/>
                </a:lnTo>
                <a:lnTo>
                  <a:pt x="2790" y="608"/>
                </a:lnTo>
                <a:lnTo>
                  <a:pt x="2803" y="627"/>
                </a:lnTo>
                <a:lnTo>
                  <a:pt x="2816" y="647"/>
                </a:lnTo>
                <a:lnTo>
                  <a:pt x="2826" y="669"/>
                </a:lnTo>
                <a:lnTo>
                  <a:pt x="2834" y="691"/>
                </a:lnTo>
                <a:lnTo>
                  <a:pt x="2840" y="714"/>
                </a:lnTo>
                <a:lnTo>
                  <a:pt x="2843" y="738"/>
                </a:lnTo>
                <a:lnTo>
                  <a:pt x="2845" y="763"/>
                </a:lnTo>
                <a:close/>
                <a:moveTo>
                  <a:pt x="746" y="2056"/>
                </a:moveTo>
                <a:lnTo>
                  <a:pt x="746" y="2046"/>
                </a:lnTo>
                <a:lnTo>
                  <a:pt x="744" y="2038"/>
                </a:lnTo>
                <a:lnTo>
                  <a:pt x="742" y="2029"/>
                </a:lnTo>
                <a:lnTo>
                  <a:pt x="738" y="2021"/>
                </a:lnTo>
                <a:lnTo>
                  <a:pt x="735" y="2013"/>
                </a:lnTo>
                <a:lnTo>
                  <a:pt x="730" y="2006"/>
                </a:lnTo>
                <a:lnTo>
                  <a:pt x="725" y="1999"/>
                </a:lnTo>
                <a:lnTo>
                  <a:pt x="719" y="1993"/>
                </a:lnTo>
                <a:lnTo>
                  <a:pt x="712" y="1987"/>
                </a:lnTo>
                <a:lnTo>
                  <a:pt x="704" y="1982"/>
                </a:lnTo>
                <a:lnTo>
                  <a:pt x="696" y="1977"/>
                </a:lnTo>
                <a:lnTo>
                  <a:pt x="687" y="1973"/>
                </a:lnTo>
                <a:lnTo>
                  <a:pt x="679" y="1969"/>
                </a:lnTo>
                <a:lnTo>
                  <a:pt x="669" y="1967"/>
                </a:lnTo>
                <a:lnTo>
                  <a:pt x="659" y="1966"/>
                </a:lnTo>
                <a:lnTo>
                  <a:pt x="649" y="1966"/>
                </a:lnTo>
                <a:lnTo>
                  <a:pt x="496" y="1966"/>
                </a:lnTo>
                <a:lnTo>
                  <a:pt x="381" y="1966"/>
                </a:lnTo>
                <a:lnTo>
                  <a:pt x="299" y="1966"/>
                </a:lnTo>
                <a:lnTo>
                  <a:pt x="244" y="1966"/>
                </a:lnTo>
                <a:lnTo>
                  <a:pt x="210" y="1966"/>
                </a:lnTo>
                <a:lnTo>
                  <a:pt x="193" y="1966"/>
                </a:lnTo>
                <a:lnTo>
                  <a:pt x="187" y="1966"/>
                </a:lnTo>
                <a:lnTo>
                  <a:pt x="186" y="1966"/>
                </a:lnTo>
                <a:lnTo>
                  <a:pt x="186" y="1716"/>
                </a:lnTo>
                <a:lnTo>
                  <a:pt x="186" y="1529"/>
                </a:lnTo>
                <a:lnTo>
                  <a:pt x="186" y="1395"/>
                </a:lnTo>
                <a:lnTo>
                  <a:pt x="186" y="1304"/>
                </a:lnTo>
                <a:lnTo>
                  <a:pt x="186" y="1249"/>
                </a:lnTo>
                <a:lnTo>
                  <a:pt x="186" y="1222"/>
                </a:lnTo>
                <a:lnTo>
                  <a:pt x="186" y="1211"/>
                </a:lnTo>
                <a:lnTo>
                  <a:pt x="186" y="1210"/>
                </a:lnTo>
                <a:lnTo>
                  <a:pt x="186" y="1200"/>
                </a:lnTo>
                <a:lnTo>
                  <a:pt x="185" y="1192"/>
                </a:lnTo>
                <a:lnTo>
                  <a:pt x="182" y="1183"/>
                </a:lnTo>
                <a:lnTo>
                  <a:pt x="179" y="1175"/>
                </a:lnTo>
                <a:lnTo>
                  <a:pt x="175" y="1167"/>
                </a:lnTo>
                <a:lnTo>
                  <a:pt x="171" y="1160"/>
                </a:lnTo>
                <a:lnTo>
                  <a:pt x="165" y="1153"/>
                </a:lnTo>
                <a:lnTo>
                  <a:pt x="161" y="1147"/>
                </a:lnTo>
                <a:lnTo>
                  <a:pt x="153" y="1141"/>
                </a:lnTo>
                <a:lnTo>
                  <a:pt x="147" y="1136"/>
                </a:lnTo>
                <a:lnTo>
                  <a:pt x="140" y="1131"/>
                </a:lnTo>
                <a:lnTo>
                  <a:pt x="131" y="1127"/>
                </a:lnTo>
                <a:lnTo>
                  <a:pt x="123" y="1123"/>
                </a:lnTo>
                <a:lnTo>
                  <a:pt x="114" y="1122"/>
                </a:lnTo>
                <a:lnTo>
                  <a:pt x="106" y="1120"/>
                </a:lnTo>
                <a:lnTo>
                  <a:pt x="97" y="1120"/>
                </a:lnTo>
                <a:lnTo>
                  <a:pt x="86" y="1120"/>
                </a:lnTo>
                <a:lnTo>
                  <a:pt x="77" y="1122"/>
                </a:lnTo>
                <a:lnTo>
                  <a:pt x="67" y="1123"/>
                </a:lnTo>
                <a:lnTo>
                  <a:pt x="57" y="1127"/>
                </a:lnTo>
                <a:lnTo>
                  <a:pt x="49" y="1131"/>
                </a:lnTo>
                <a:lnTo>
                  <a:pt x="42" y="1136"/>
                </a:lnTo>
                <a:lnTo>
                  <a:pt x="34" y="1141"/>
                </a:lnTo>
                <a:lnTo>
                  <a:pt x="27" y="1147"/>
                </a:lnTo>
                <a:lnTo>
                  <a:pt x="21" y="1153"/>
                </a:lnTo>
                <a:lnTo>
                  <a:pt x="16" y="1160"/>
                </a:lnTo>
                <a:lnTo>
                  <a:pt x="11" y="1167"/>
                </a:lnTo>
                <a:lnTo>
                  <a:pt x="6" y="1175"/>
                </a:lnTo>
                <a:lnTo>
                  <a:pt x="4" y="1183"/>
                </a:lnTo>
                <a:lnTo>
                  <a:pt x="2" y="1192"/>
                </a:lnTo>
                <a:lnTo>
                  <a:pt x="0" y="1200"/>
                </a:lnTo>
                <a:lnTo>
                  <a:pt x="0" y="1210"/>
                </a:lnTo>
                <a:lnTo>
                  <a:pt x="0" y="1489"/>
                </a:lnTo>
                <a:lnTo>
                  <a:pt x="0" y="1699"/>
                </a:lnTo>
                <a:lnTo>
                  <a:pt x="0" y="1850"/>
                </a:lnTo>
                <a:lnTo>
                  <a:pt x="0" y="1950"/>
                </a:lnTo>
                <a:lnTo>
                  <a:pt x="0" y="2011"/>
                </a:lnTo>
                <a:lnTo>
                  <a:pt x="0" y="2043"/>
                </a:lnTo>
                <a:lnTo>
                  <a:pt x="0" y="2054"/>
                </a:lnTo>
                <a:lnTo>
                  <a:pt x="0" y="2056"/>
                </a:lnTo>
                <a:lnTo>
                  <a:pt x="0" y="2071"/>
                </a:lnTo>
                <a:lnTo>
                  <a:pt x="3" y="2084"/>
                </a:lnTo>
                <a:lnTo>
                  <a:pt x="6" y="2095"/>
                </a:lnTo>
                <a:lnTo>
                  <a:pt x="12" y="2106"/>
                </a:lnTo>
                <a:lnTo>
                  <a:pt x="18" y="2116"/>
                </a:lnTo>
                <a:lnTo>
                  <a:pt x="27" y="2125"/>
                </a:lnTo>
                <a:lnTo>
                  <a:pt x="37" y="2132"/>
                </a:lnTo>
                <a:lnTo>
                  <a:pt x="49" y="2138"/>
                </a:lnTo>
                <a:lnTo>
                  <a:pt x="37" y="2164"/>
                </a:lnTo>
                <a:lnTo>
                  <a:pt x="26" y="2193"/>
                </a:lnTo>
                <a:lnTo>
                  <a:pt x="22" y="2208"/>
                </a:lnTo>
                <a:lnTo>
                  <a:pt x="18" y="2223"/>
                </a:lnTo>
                <a:lnTo>
                  <a:pt x="16" y="2237"/>
                </a:lnTo>
                <a:lnTo>
                  <a:pt x="16" y="2253"/>
                </a:lnTo>
                <a:lnTo>
                  <a:pt x="16" y="2340"/>
                </a:lnTo>
                <a:lnTo>
                  <a:pt x="16" y="2405"/>
                </a:lnTo>
                <a:lnTo>
                  <a:pt x="16" y="2452"/>
                </a:lnTo>
                <a:lnTo>
                  <a:pt x="16" y="2483"/>
                </a:lnTo>
                <a:lnTo>
                  <a:pt x="16" y="2503"/>
                </a:lnTo>
                <a:lnTo>
                  <a:pt x="16" y="2512"/>
                </a:lnTo>
                <a:lnTo>
                  <a:pt x="16" y="2516"/>
                </a:lnTo>
                <a:lnTo>
                  <a:pt x="16" y="2516"/>
                </a:lnTo>
                <a:lnTo>
                  <a:pt x="16" y="2523"/>
                </a:lnTo>
                <a:lnTo>
                  <a:pt x="17" y="2532"/>
                </a:lnTo>
                <a:lnTo>
                  <a:pt x="20" y="2539"/>
                </a:lnTo>
                <a:lnTo>
                  <a:pt x="23" y="2547"/>
                </a:lnTo>
                <a:lnTo>
                  <a:pt x="27" y="2554"/>
                </a:lnTo>
                <a:lnTo>
                  <a:pt x="31" y="2560"/>
                </a:lnTo>
                <a:lnTo>
                  <a:pt x="35" y="2566"/>
                </a:lnTo>
                <a:lnTo>
                  <a:pt x="42" y="2572"/>
                </a:lnTo>
                <a:lnTo>
                  <a:pt x="48" y="2578"/>
                </a:lnTo>
                <a:lnTo>
                  <a:pt x="54" y="2583"/>
                </a:lnTo>
                <a:lnTo>
                  <a:pt x="60" y="2587"/>
                </a:lnTo>
                <a:lnTo>
                  <a:pt x="67" y="2591"/>
                </a:lnTo>
                <a:lnTo>
                  <a:pt x="74" y="2594"/>
                </a:lnTo>
                <a:lnTo>
                  <a:pt x="82" y="2597"/>
                </a:lnTo>
                <a:lnTo>
                  <a:pt x="89" y="2598"/>
                </a:lnTo>
                <a:lnTo>
                  <a:pt x="97" y="2598"/>
                </a:lnTo>
                <a:lnTo>
                  <a:pt x="105" y="2598"/>
                </a:lnTo>
                <a:lnTo>
                  <a:pt x="112" y="2597"/>
                </a:lnTo>
                <a:lnTo>
                  <a:pt x="119" y="2594"/>
                </a:lnTo>
                <a:lnTo>
                  <a:pt x="127" y="2591"/>
                </a:lnTo>
                <a:lnTo>
                  <a:pt x="134" y="2587"/>
                </a:lnTo>
                <a:lnTo>
                  <a:pt x="141" y="2583"/>
                </a:lnTo>
                <a:lnTo>
                  <a:pt x="147" y="2578"/>
                </a:lnTo>
                <a:lnTo>
                  <a:pt x="153" y="2572"/>
                </a:lnTo>
                <a:lnTo>
                  <a:pt x="158" y="2566"/>
                </a:lnTo>
                <a:lnTo>
                  <a:pt x="163" y="2560"/>
                </a:lnTo>
                <a:lnTo>
                  <a:pt x="168" y="2554"/>
                </a:lnTo>
                <a:lnTo>
                  <a:pt x="171" y="2547"/>
                </a:lnTo>
                <a:lnTo>
                  <a:pt x="174" y="2539"/>
                </a:lnTo>
                <a:lnTo>
                  <a:pt x="176" y="2532"/>
                </a:lnTo>
                <a:lnTo>
                  <a:pt x="178" y="2523"/>
                </a:lnTo>
                <a:lnTo>
                  <a:pt x="179" y="2516"/>
                </a:lnTo>
                <a:lnTo>
                  <a:pt x="179" y="2429"/>
                </a:lnTo>
                <a:lnTo>
                  <a:pt x="179" y="2364"/>
                </a:lnTo>
                <a:lnTo>
                  <a:pt x="179" y="2318"/>
                </a:lnTo>
                <a:lnTo>
                  <a:pt x="179" y="2286"/>
                </a:lnTo>
                <a:lnTo>
                  <a:pt x="179" y="2267"/>
                </a:lnTo>
                <a:lnTo>
                  <a:pt x="179" y="2257"/>
                </a:lnTo>
                <a:lnTo>
                  <a:pt x="179" y="2253"/>
                </a:lnTo>
                <a:lnTo>
                  <a:pt x="179" y="2253"/>
                </a:lnTo>
                <a:lnTo>
                  <a:pt x="179" y="2238"/>
                </a:lnTo>
                <a:lnTo>
                  <a:pt x="182" y="2225"/>
                </a:lnTo>
                <a:lnTo>
                  <a:pt x="185" y="2220"/>
                </a:lnTo>
                <a:lnTo>
                  <a:pt x="188" y="2214"/>
                </a:lnTo>
                <a:lnTo>
                  <a:pt x="191" y="2209"/>
                </a:lnTo>
                <a:lnTo>
                  <a:pt x="196" y="2205"/>
                </a:lnTo>
                <a:lnTo>
                  <a:pt x="199" y="2201"/>
                </a:lnTo>
                <a:lnTo>
                  <a:pt x="204" y="2197"/>
                </a:lnTo>
                <a:lnTo>
                  <a:pt x="210" y="2194"/>
                </a:lnTo>
                <a:lnTo>
                  <a:pt x="216" y="2192"/>
                </a:lnTo>
                <a:lnTo>
                  <a:pt x="229" y="2188"/>
                </a:lnTo>
                <a:lnTo>
                  <a:pt x="243" y="2187"/>
                </a:lnTo>
                <a:lnTo>
                  <a:pt x="329" y="2187"/>
                </a:lnTo>
                <a:lnTo>
                  <a:pt x="394" y="2187"/>
                </a:lnTo>
                <a:lnTo>
                  <a:pt x="440" y="2187"/>
                </a:lnTo>
                <a:lnTo>
                  <a:pt x="470" y="2187"/>
                </a:lnTo>
                <a:lnTo>
                  <a:pt x="490" y="2187"/>
                </a:lnTo>
                <a:lnTo>
                  <a:pt x="498" y="2187"/>
                </a:lnTo>
                <a:lnTo>
                  <a:pt x="502" y="2187"/>
                </a:lnTo>
                <a:lnTo>
                  <a:pt x="503" y="2187"/>
                </a:lnTo>
                <a:lnTo>
                  <a:pt x="515" y="2188"/>
                </a:lnTo>
                <a:lnTo>
                  <a:pt x="526" y="2192"/>
                </a:lnTo>
                <a:lnTo>
                  <a:pt x="537" y="2197"/>
                </a:lnTo>
                <a:lnTo>
                  <a:pt x="548" y="2205"/>
                </a:lnTo>
                <a:lnTo>
                  <a:pt x="551" y="2209"/>
                </a:lnTo>
                <a:lnTo>
                  <a:pt x="555" y="2214"/>
                </a:lnTo>
                <a:lnTo>
                  <a:pt x="559" y="2220"/>
                </a:lnTo>
                <a:lnTo>
                  <a:pt x="562" y="2225"/>
                </a:lnTo>
                <a:lnTo>
                  <a:pt x="565" y="2232"/>
                </a:lnTo>
                <a:lnTo>
                  <a:pt x="566" y="2238"/>
                </a:lnTo>
                <a:lnTo>
                  <a:pt x="567" y="2246"/>
                </a:lnTo>
                <a:lnTo>
                  <a:pt x="567" y="2253"/>
                </a:lnTo>
                <a:lnTo>
                  <a:pt x="567" y="2340"/>
                </a:lnTo>
                <a:lnTo>
                  <a:pt x="567" y="2405"/>
                </a:lnTo>
                <a:lnTo>
                  <a:pt x="567" y="2452"/>
                </a:lnTo>
                <a:lnTo>
                  <a:pt x="567" y="2483"/>
                </a:lnTo>
                <a:lnTo>
                  <a:pt x="567" y="2503"/>
                </a:lnTo>
                <a:lnTo>
                  <a:pt x="567" y="2512"/>
                </a:lnTo>
                <a:lnTo>
                  <a:pt x="567" y="2516"/>
                </a:lnTo>
                <a:lnTo>
                  <a:pt x="567" y="2516"/>
                </a:lnTo>
                <a:lnTo>
                  <a:pt x="568" y="2523"/>
                </a:lnTo>
                <a:lnTo>
                  <a:pt x="568" y="2532"/>
                </a:lnTo>
                <a:lnTo>
                  <a:pt x="571" y="2539"/>
                </a:lnTo>
                <a:lnTo>
                  <a:pt x="573" y="2547"/>
                </a:lnTo>
                <a:lnTo>
                  <a:pt x="576" y="2554"/>
                </a:lnTo>
                <a:lnTo>
                  <a:pt x="579" y="2560"/>
                </a:lnTo>
                <a:lnTo>
                  <a:pt x="584" y="2566"/>
                </a:lnTo>
                <a:lnTo>
                  <a:pt x="589" y="2572"/>
                </a:lnTo>
                <a:lnTo>
                  <a:pt x="594" y="2578"/>
                </a:lnTo>
                <a:lnTo>
                  <a:pt x="600" y="2583"/>
                </a:lnTo>
                <a:lnTo>
                  <a:pt x="606" y="2587"/>
                </a:lnTo>
                <a:lnTo>
                  <a:pt x="612" y="2591"/>
                </a:lnTo>
                <a:lnTo>
                  <a:pt x="618" y="2594"/>
                </a:lnTo>
                <a:lnTo>
                  <a:pt x="625" y="2597"/>
                </a:lnTo>
                <a:lnTo>
                  <a:pt x="633" y="2598"/>
                </a:lnTo>
                <a:lnTo>
                  <a:pt x="640" y="2598"/>
                </a:lnTo>
                <a:lnTo>
                  <a:pt x="650" y="2598"/>
                </a:lnTo>
                <a:lnTo>
                  <a:pt x="658" y="2597"/>
                </a:lnTo>
                <a:lnTo>
                  <a:pt x="666" y="2594"/>
                </a:lnTo>
                <a:lnTo>
                  <a:pt x="674" y="2591"/>
                </a:lnTo>
                <a:lnTo>
                  <a:pt x="681" y="2587"/>
                </a:lnTo>
                <a:lnTo>
                  <a:pt x="687" y="2583"/>
                </a:lnTo>
                <a:lnTo>
                  <a:pt x="693" y="2578"/>
                </a:lnTo>
                <a:lnTo>
                  <a:pt x="700" y="2572"/>
                </a:lnTo>
                <a:lnTo>
                  <a:pt x="704" y="2566"/>
                </a:lnTo>
                <a:lnTo>
                  <a:pt x="709" y="2560"/>
                </a:lnTo>
                <a:lnTo>
                  <a:pt x="713" y="2554"/>
                </a:lnTo>
                <a:lnTo>
                  <a:pt x="715" y="2547"/>
                </a:lnTo>
                <a:lnTo>
                  <a:pt x="718" y="2539"/>
                </a:lnTo>
                <a:lnTo>
                  <a:pt x="720" y="2532"/>
                </a:lnTo>
                <a:lnTo>
                  <a:pt x="721" y="2523"/>
                </a:lnTo>
                <a:lnTo>
                  <a:pt x="721" y="2516"/>
                </a:lnTo>
                <a:lnTo>
                  <a:pt x="721" y="2429"/>
                </a:lnTo>
                <a:lnTo>
                  <a:pt x="721" y="2364"/>
                </a:lnTo>
                <a:lnTo>
                  <a:pt x="721" y="2318"/>
                </a:lnTo>
                <a:lnTo>
                  <a:pt x="721" y="2286"/>
                </a:lnTo>
                <a:lnTo>
                  <a:pt x="721" y="2267"/>
                </a:lnTo>
                <a:lnTo>
                  <a:pt x="721" y="2257"/>
                </a:lnTo>
                <a:lnTo>
                  <a:pt x="721" y="2253"/>
                </a:lnTo>
                <a:lnTo>
                  <a:pt x="721" y="2253"/>
                </a:lnTo>
                <a:lnTo>
                  <a:pt x="721" y="2237"/>
                </a:lnTo>
                <a:lnTo>
                  <a:pt x="720" y="2223"/>
                </a:lnTo>
                <a:lnTo>
                  <a:pt x="718" y="2208"/>
                </a:lnTo>
                <a:lnTo>
                  <a:pt x="715" y="2193"/>
                </a:lnTo>
                <a:lnTo>
                  <a:pt x="712" y="2180"/>
                </a:lnTo>
                <a:lnTo>
                  <a:pt x="708" y="2168"/>
                </a:lnTo>
                <a:lnTo>
                  <a:pt x="703" y="2157"/>
                </a:lnTo>
                <a:lnTo>
                  <a:pt x="697" y="2147"/>
                </a:lnTo>
                <a:lnTo>
                  <a:pt x="707" y="2139"/>
                </a:lnTo>
                <a:lnTo>
                  <a:pt x="715" y="2131"/>
                </a:lnTo>
                <a:lnTo>
                  <a:pt x="724" y="2121"/>
                </a:lnTo>
                <a:lnTo>
                  <a:pt x="731" y="2110"/>
                </a:lnTo>
                <a:lnTo>
                  <a:pt x="737" y="2098"/>
                </a:lnTo>
                <a:lnTo>
                  <a:pt x="742" y="2086"/>
                </a:lnTo>
                <a:lnTo>
                  <a:pt x="744" y="2071"/>
                </a:lnTo>
                <a:lnTo>
                  <a:pt x="746" y="2056"/>
                </a:lnTo>
                <a:close/>
                <a:moveTo>
                  <a:pt x="979" y="1809"/>
                </a:moveTo>
                <a:lnTo>
                  <a:pt x="978" y="1800"/>
                </a:lnTo>
                <a:lnTo>
                  <a:pt x="974" y="1790"/>
                </a:lnTo>
                <a:lnTo>
                  <a:pt x="970" y="1780"/>
                </a:lnTo>
                <a:lnTo>
                  <a:pt x="967" y="1770"/>
                </a:lnTo>
                <a:lnTo>
                  <a:pt x="961" y="1762"/>
                </a:lnTo>
                <a:lnTo>
                  <a:pt x="954" y="1753"/>
                </a:lnTo>
                <a:lnTo>
                  <a:pt x="948" y="1746"/>
                </a:lnTo>
                <a:lnTo>
                  <a:pt x="941" y="1740"/>
                </a:lnTo>
                <a:lnTo>
                  <a:pt x="934" y="1734"/>
                </a:lnTo>
                <a:lnTo>
                  <a:pt x="927" y="1727"/>
                </a:lnTo>
                <a:lnTo>
                  <a:pt x="918" y="1723"/>
                </a:lnTo>
                <a:lnTo>
                  <a:pt x="910" y="1719"/>
                </a:lnTo>
                <a:lnTo>
                  <a:pt x="901" y="1716"/>
                </a:lnTo>
                <a:lnTo>
                  <a:pt x="893" y="1714"/>
                </a:lnTo>
                <a:lnTo>
                  <a:pt x="883" y="1713"/>
                </a:lnTo>
                <a:lnTo>
                  <a:pt x="874" y="1712"/>
                </a:lnTo>
                <a:lnTo>
                  <a:pt x="810" y="1712"/>
                </a:lnTo>
                <a:lnTo>
                  <a:pt x="761" y="1712"/>
                </a:lnTo>
                <a:lnTo>
                  <a:pt x="727" y="1712"/>
                </a:lnTo>
                <a:lnTo>
                  <a:pt x="704" y="1712"/>
                </a:lnTo>
                <a:lnTo>
                  <a:pt x="690" y="1712"/>
                </a:lnTo>
                <a:lnTo>
                  <a:pt x="683" y="1712"/>
                </a:lnTo>
                <a:lnTo>
                  <a:pt x="680" y="1712"/>
                </a:lnTo>
                <a:lnTo>
                  <a:pt x="680" y="1712"/>
                </a:lnTo>
                <a:lnTo>
                  <a:pt x="680" y="1622"/>
                </a:lnTo>
                <a:lnTo>
                  <a:pt x="680" y="1555"/>
                </a:lnTo>
                <a:lnTo>
                  <a:pt x="680" y="1507"/>
                </a:lnTo>
                <a:lnTo>
                  <a:pt x="680" y="1476"/>
                </a:lnTo>
                <a:lnTo>
                  <a:pt x="680" y="1456"/>
                </a:lnTo>
                <a:lnTo>
                  <a:pt x="680" y="1446"/>
                </a:lnTo>
                <a:lnTo>
                  <a:pt x="680" y="1441"/>
                </a:lnTo>
                <a:lnTo>
                  <a:pt x="680" y="1441"/>
                </a:lnTo>
                <a:lnTo>
                  <a:pt x="704" y="1462"/>
                </a:lnTo>
                <a:lnTo>
                  <a:pt x="730" y="1480"/>
                </a:lnTo>
                <a:lnTo>
                  <a:pt x="743" y="1489"/>
                </a:lnTo>
                <a:lnTo>
                  <a:pt x="757" y="1498"/>
                </a:lnTo>
                <a:lnTo>
                  <a:pt x="770" y="1505"/>
                </a:lnTo>
                <a:lnTo>
                  <a:pt x="785" y="1512"/>
                </a:lnTo>
                <a:lnTo>
                  <a:pt x="799" y="1518"/>
                </a:lnTo>
                <a:lnTo>
                  <a:pt x="815" y="1523"/>
                </a:lnTo>
                <a:lnTo>
                  <a:pt x="829" y="1528"/>
                </a:lnTo>
                <a:lnTo>
                  <a:pt x="845" y="1532"/>
                </a:lnTo>
                <a:lnTo>
                  <a:pt x="862" y="1535"/>
                </a:lnTo>
                <a:lnTo>
                  <a:pt x="879" y="1538"/>
                </a:lnTo>
                <a:lnTo>
                  <a:pt x="896" y="1539"/>
                </a:lnTo>
                <a:lnTo>
                  <a:pt x="914" y="1539"/>
                </a:lnTo>
                <a:lnTo>
                  <a:pt x="936" y="1539"/>
                </a:lnTo>
                <a:lnTo>
                  <a:pt x="958" y="1537"/>
                </a:lnTo>
                <a:lnTo>
                  <a:pt x="981" y="1533"/>
                </a:lnTo>
                <a:lnTo>
                  <a:pt x="1005" y="1527"/>
                </a:lnTo>
                <a:lnTo>
                  <a:pt x="1030" y="1521"/>
                </a:lnTo>
                <a:lnTo>
                  <a:pt x="1055" y="1512"/>
                </a:lnTo>
                <a:lnTo>
                  <a:pt x="1082" y="1502"/>
                </a:lnTo>
                <a:lnTo>
                  <a:pt x="1109" y="1490"/>
                </a:lnTo>
                <a:lnTo>
                  <a:pt x="1117" y="1487"/>
                </a:lnTo>
                <a:lnTo>
                  <a:pt x="1126" y="1483"/>
                </a:lnTo>
                <a:lnTo>
                  <a:pt x="1133" y="1477"/>
                </a:lnTo>
                <a:lnTo>
                  <a:pt x="1140" y="1472"/>
                </a:lnTo>
                <a:lnTo>
                  <a:pt x="1146" y="1465"/>
                </a:lnTo>
                <a:lnTo>
                  <a:pt x="1152" y="1457"/>
                </a:lnTo>
                <a:lnTo>
                  <a:pt x="1157" y="1450"/>
                </a:lnTo>
                <a:lnTo>
                  <a:pt x="1161" y="1441"/>
                </a:lnTo>
                <a:lnTo>
                  <a:pt x="1165" y="1433"/>
                </a:lnTo>
                <a:lnTo>
                  <a:pt x="1167" y="1424"/>
                </a:lnTo>
                <a:lnTo>
                  <a:pt x="1169" y="1414"/>
                </a:lnTo>
                <a:lnTo>
                  <a:pt x="1171" y="1406"/>
                </a:lnTo>
                <a:lnTo>
                  <a:pt x="1171" y="1396"/>
                </a:lnTo>
                <a:lnTo>
                  <a:pt x="1169" y="1386"/>
                </a:lnTo>
                <a:lnTo>
                  <a:pt x="1168" y="1377"/>
                </a:lnTo>
                <a:lnTo>
                  <a:pt x="1166" y="1368"/>
                </a:lnTo>
                <a:lnTo>
                  <a:pt x="1162" y="1358"/>
                </a:lnTo>
                <a:lnTo>
                  <a:pt x="1157" y="1351"/>
                </a:lnTo>
                <a:lnTo>
                  <a:pt x="1152" y="1342"/>
                </a:lnTo>
                <a:lnTo>
                  <a:pt x="1146" y="1336"/>
                </a:lnTo>
                <a:lnTo>
                  <a:pt x="1140" y="1330"/>
                </a:lnTo>
                <a:lnTo>
                  <a:pt x="1133" y="1324"/>
                </a:lnTo>
                <a:lnTo>
                  <a:pt x="1124" y="1319"/>
                </a:lnTo>
                <a:lnTo>
                  <a:pt x="1117" y="1315"/>
                </a:lnTo>
                <a:lnTo>
                  <a:pt x="1109" y="1313"/>
                </a:lnTo>
                <a:lnTo>
                  <a:pt x="1099" y="1311"/>
                </a:lnTo>
                <a:lnTo>
                  <a:pt x="1090" y="1309"/>
                </a:lnTo>
                <a:lnTo>
                  <a:pt x="1081" y="1309"/>
                </a:lnTo>
                <a:lnTo>
                  <a:pt x="1072" y="1309"/>
                </a:lnTo>
                <a:lnTo>
                  <a:pt x="1063" y="1312"/>
                </a:lnTo>
                <a:lnTo>
                  <a:pt x="1053" y="1314"/>
                </a:lnTo>
                <a:lnTo>
                  <a:pt x="1044" y="1319"/>
                </a:lnTo>
                <a:lnTo>
                  <a:pt x="1010" y="1331"/>
                </a:lnTo>
                <a:lnTo>
                  <a:pt x="980" y="1341"/>
                </a:lnTo>
                <a:lnTo>
                  <a:pt x="967" y="1345"/>
                </a:lnTo>
                <a:lnTo>
                  <a:pt x="953" y="1347"/>
                </a:lnTo>
                <a:lnTo>
                  <a:pt x="940" y="1350"/>
                </a:lnTo>
                <a:lnTo>
                  <a:pt x="928" y="1351"/>
                </a:lnTo>
                <a:lnTo>
                  <a:pt x="916" y="1352"/>
                </a:lnTo>
                <a:lnTo>
                  <a:pt x="904" y="1352"/>
                </a:lnTo>
                <a:lnTo>
                  <a:pt x="893" y="1351"/>
                </a:lnTo>
                <a:lnTo>
                  <a:pt x="882" y="1350"/>
                </a:lnTo>
                <a:lnTo>
                  <a:pt x="871" y="1347"/>
                </a:lnTo>
                <a:lnTo>
                  <a:pt x="861" y="1344"/>
                </a:lnTo>
                <a:lnTo>
                  <a:pt x="850" y="1339"/>
                </a:lnTo>
                <a:lnTo>
                  <a:pt x="840" y="1334"/>
                </a:lnTo>
                <a:lnTo>
                  <a:pt x="831" y="1328"/>
                </a:lnTo>
                <a:lnTo>
                  <a:pt x="821" y="1322"/>
                </a:lnTo>
                <a:lnTo>
                  <a:pt x="810" y="1313"/>
                </a:lnTo>
                <a:lnTo>
                  <a:pt x="800" y="1304"/>
                </a:lnTo>
                <a:lnTo>
                  <a:pt x="780" y="1284"/>
                </a:lnTo>
                <a:lnTo>
                  <a:pt x="758" y="1260"/>
                </a:lnTo>
                <a:lnTo>
                  <a:pt x="735" y="1231"/>
                </a:lnTo>
                <a:lnTo>
                  <a:pt x="710" y="1199"/>
                </a:lnTo>
                <a:lnTo>
                  <a:pt x="684" y="1163"/>
                </a:lnTo>
                <a:lnTo>
                  <a:pt x="656" y="1122"/>
                </a:lnTo>
                <a:lnTo>
                  <a:pt x="656" y="1121"/>
                </a:lnTo>
                <a:lnTo>
                  <a:pt x="656" y="1114"/>
                </a:lnTo>
                <a:lnTo>
                  <a:pt x="649" y="1105"/>
                </a:lnTo>
                <a:lnTo>
                  <a:pt x="642" y="1097"/>
                </a:lnTo>
                <a:lnTo>
                  <a:pt x="635" y="1088"/>
                </a:lnTo>
                <a:lnTo>
                  <a:pt x="627" y="1081"/>
                </a:lnTo>
                <a:lnTo>
                  <a:pt x="610" y="1066"/>
                </a:lnTo>
                <a:lnTo>
                  <a:pt x="592" y="1054"/>
                </a:lnTo>
                <a:lnTo>
                  <a:pt x="572" y="1043"/>
                </a:lnTo>
                <a:lnTo>
                  <a:pt x="551" y="1034"/>
                </a:lnTo>
                <a:lnTo>
                  <a:pt x="531" y="1028"/>
                </a:lnTo>
                <a:lnTo>
                  <a:pt x="509" y="1023"/>
                </a:lnTo>
                <a:lnTo>
                  <a:pt x="505" y="1022"/>
                </a:lnTo>
                <a:lnTo>
                  <a:pt x="494" y="1020"/>
                </a:lnTo>
                <a:lnTo>
                  <a:pt x="479" y="1017"/>
                </a:lnTo>
                <a:lnTo>
                  <a:pt x="460" y="1016"/>
                </a:lnTo>
                <a:lnTo>
                  <a:pt x="442" y="1017"/>
                </a:lnTo>
                <a:lnTo>
                  <a:pt x="424" y="1020"/>
                </a:lnTo>
                <a:lnTo>
                  <a:pt x="409" y="1022"/>
                </a:lnTo>
                <a:lnTo>
                  <a:pt x="405" y="1023"/>
                </a:lnTo>
                <a:lnTo>
                  <a:pt x="389" y="1027"/>
                </a:lnTo>
                <a:lnTo>
                  <a:pt x="374" y="1032"/>
                </a:lnTo>
                <a:lnTo>
                  <a:pt x="358" y="1038"/>
                </a:lnTo>
                <a:lnTo>
                  <a:pt x="344" y="1045"/>
                </a:lnTo>
                <a:lnTo>
                  <a:pt x="329" y="1053"/>
                </a:lnTo>
                <a:lnTo>
                  <a:pt x="315" y="1062"/>
                </a:lnTo>
                <a:lnTo>
                  <a:pt x="301" y="1072"/>
                </a:lnTo>
                <a:lnTo>
                  <a:pt x="289" y="1083"/>
                </a:lnTo>
                <a:lnTo>
                  <a:pt x="277" y="1095"/>
                </a:lnTo>
                <a:lnTo>
                  <a:pt x="266" y="1108"/>
                </a:lnTo>
                <a:lnTo>
                  <a:pt x="258" y="1122"/>
                </a:lnTo>
                <a:lnTo>
                  <a:pt x="249" y="1137"/>
                </a:lnTo>
                <a:lnTo>
                  <a:pt x="243" y="1152"/>
                </a:lnTo>
                <a:lnTo>
                  <a:pt x="238" y="1169"/>
                </a:lnTo>
                <a:lnTo>
                  <a:pt x="236" y="1186"/>
                </a:lnTo>
                <a:lnTo>
                  <a:pt x="235" y="1204"/>
                </a:lnTo>
                <a:lnTo>
                  <a:pt x="235" y="1383"/>
                </a:lnTo>
                <a:lnTo>
                  <a:pt x="235" y="1516"/>
                </a:lnTo>
                <a:lnTo>
                  <a:pt x="235" y="1612"/>
                </a:lnTo>
                <a:lnTo>
                  <a:pt x="235" y="1677"/>
                </a:lnTo>
                <a:lnTo>
                  <a:pt x="235" y="1716"/>
                </a:lnTo>
                <a:lnTo>
                  <a:pt x="235" y="1736"/>
                </a:lnTo>
                <a:lnTo>
                  <a:pt x="235" y="1743"/>
                </a:lnTo>
                <a:lnTo>
                  <a:pt x="235" y="1745"/>
                </a:lnTo>
                <a:lnTo>
                  <a:pt x="235" y="1756"/>
                </a:lnTo>
                <a:lnTo>
                  <a:pt x="236" y="1765"/>
                </a:lnTo>
                <a:lnTo>
                  <a:pt x="237" y="1775"/>
                </a:lnTo>
                <a:lnTo>
                  <a:pt x="239" y="1785"/>
                </a:lnTo>
                <a:lnTo>
                  <a:pt x="243" y="1795"/>
                </a:lnTo>
                <a:lnTo>
                  <a:pt x="247" y="1804"/>
                </a:lnTo>
                <a:lnTo>
                  <a:pt x="250" y="1813"/>
                </a:lnTo>
                <a:lnTo>
                  <a:pt x="255" y="1823"/>
                </a:lnTo>
                <a:lnTo>
                  <a:pt x="266" y="1839"/>
                </a:lnTo>
                <a:lnTo>
                  <a:pt x="278" y="1855"/>
                </a:lnTo>
                <a:lnTo>
                  <a:pt x="293" y="1869"/>
                </a:lnTo>
                <a:lnTo>
                  <a:pt x="309" y="1881"/>
                </a:lnTo>
                <a:lnTo>
                  <a:pt x="324" y="1894"/>
                </a:lnTo>
                <a:lnTo>
                  <a:pt x="343" y="1903"/>
                </a:lnTo>
                <a:lnTo>
                  <a:pt x="362" y="1912"/>
                </a:lnTo>
                <a:lnTo>
                  <a:pt x="381" y="1919"/>
                </a:lnTo>
                <a:lnTo>
                  <a:pt x="401" y="1925"/>
                </a:lnTo>
                <a:lnTo>
                  <a:pt x="422" y="1929"/>
                </a:lnTo>
                <a:lnTo>
                  <a:pt x="441" y="1932"/>
                </a:lnTo>
                <a:lnTo>
                  <a:pt x="460" y="1933"/>
                </a:lnTo>
                <a:lnTo>
                  <a:pt x="466" y="1933"/>
                </a:lnTo>
                <a:lnTo>
                  <a:pt x="477" y="1933"/>
                </a:lnTo>
                <a:lnTo>
                  <a:pt x="573" y="1933"/>
                </a:lnTo>
                <a:lnTo>
                  <a:pt x="646" y="1933"/>
                </a:lnTo>
                <a:lnTo>
                  <a:pt x="697" y="1933"/>
                </a:lnTo>
                <a:lnTo>
                  <a:pt x="732" y="1933"/>
                </a:lnTo>
                <a:lnTo>
                  <a:pt x="753" y="1933"/>
                </a:lnTo>
                <a:lnTo>
                  <a:pt x="764" y="1933"/>
                </a:lnTo>
                <a:lnTo>
                  <a:pt x="768" y="1933"/>
                </a:lnTo>
                <a:lnTo>
                  <a:pt x="769" y="1933"/>
                </a:lnTo>
                <a:lnTo>
                  <a:pt x="791" y="2114"/>
                </a:lnTo>
                <a:lnTo>
                  <a:pt x="806" y="2249"/>
                </a:lnTo>
                <a:lnTo>
                  <a:pt x="817" y="2347"/>
                </a:lnTo>
                <a:lnTo>
                  <a:pt x="826" y="2413"/>
                </a:lnTo>
                <a:lnTo>
                  <a:pt x="829" y="2452"/>
                </a:lnTo>
                <a:lnTo>
                  <a:pt x="832" y="2473"/>
                </a:lnTo>
                <a:lnTo>
                  <a:pt x="833" y="2481"/>
                </a:lnTo>
                <a:lnTo>
                  <a:pt x="833" y="2482"/>
                </a:lnTo>
                <a:lnTo>
                  <a:pt x="836" y="2492"/>
                </a:lnTo>
                <a:lnTo>
                  <a:pt x="838" y="2503"/>
                </a:lnTo>
                <a:lnTo>
                  <a:pt x="842" y="2512"/>
                </a:lnTo>
                <a:lnTo>
                  <a:pt x="846" y="2521"/>
                </a:lnTo>
                <a:lnTo>
                  <a:pt x="851" y="2529"/>
                </a:lnTo>
                <a:lnTo>
                  <a:pt x="857" y="2538"/>
                </a:lnTo>
                <a:lnTo>
                  <a:pt x="865" y="2545"/>
                </a:lnTo>
                <a:lnTo>
                  <a:pt x="872" y="2553"/>
                </a:lnTo>
                <a:lnTo>
                  <a:pt x="879" y="2559"/>
                </a:lnTo>
                <a:lnTo>
                  <a:pt x="888" y="2564"/>
                </a:lnTo>
                <a:lnTo>
                  <a:pt x="897" y="2569"/>
                </a:lnTo>
                <a:lnTo>
                  <a:pt x="906" y="2572"/>
                </a:lnTo>
                <a:lnTo>
                  <a:pt x="916" y="2576"/>
                </a:lnTo>
                <a:lnTo>
                  <a:pt x="925" y="2578"/>
                </a:lnTo>
                <a:lnTo>
                  <a:pt x="936" y="2580"/>
                </a:lnTo>
                <a:lnTo>
                  <a:pt x="947" y="2580"/>
                </a:lnTo>
                <a:lnTo>
                  <a:pt x="954" y="2580"/>
                </a:lnTo>
                <a:lnTo>
                  <a:pt x="967" y="2578"/>
                </a:lnTo>
                <a:lnTo>
                  <a:pt x="978" y="2575"/>
                </a:lnTo>
                <a:lnTo>
                  <a:pt x="988" y="2571"/>
                </a:lnTo>
                <a:lnTo>
                  <a:pt x="998" y="2566"/>
                </a:lnTo>
                <a:lnTo>
                  <a:pt x="1008" y="2561"/>
                </a:lnTo>
                <a:lnTo>
                  <a:pt x="1016" y="2555"/>
                </a:lnTo>
                <a:lnTo>
                  <a:pt x="1024" y="2548"/>
                </a:lnTo>
                <a:lnTo>
                  <a:pt x="1031" y="2539"/>
                </a:lnTo>
                <a:lnTo>
                  <a:pt x="1037" y="2532"/>
                </a:lnTo>
                <a:lnTo>
                  <a:pt x="1042" y="2522"/>
                </a:lnTo>
                <a:lnTo>
                  <a:pt x="1046" y="2512"/>
                </a:lnTo>
                <a:lnTo>
                  <a:pt x="1049" y="2503"/>
                </a:lnTo>
                <a:lnTo>
                  <a:pt x="1052" y="2492"/>
                </a:lnTo>
                <a:lnTo>
                  <a:pt x="1053" y="2481"/>
                </a:lnTo>
                <a:lnTo>
                  <a:pt x="1053" y="2470"/>
                </a:lnTo>
                <a:lnTo>
                  <a:pt x="1052" y="2457"/>
                </a:lnTo>
                <a:lnTo>
                  <a:pt x="979" y="1809"/>
                </a:lnTo>
                <a:close/>
              </a:path>
            </a:pathLst>
          </a:custGeom>
          <a:solidFill>
            <a:srgbClr val="1DB8D1"/>
          </a:solidFill>
          <a:ln>
            <a:noFill/>
          </a:ln>
        </p:spPr>
        <p:txBody>
          <a:bodyPr vert="horz" wrap="square" lIns="45713" tIns="22856" rIns="45713" bIns="22856" numCol="1" anchor="t" anchorCtr="0" compatLnSpc="1">
            <a:prstTxWarp prst="textNoShape">
              <a:avLst/>
            </a:prstTxWarp>
          </a:bodyPr>
          <a:lstStyle/>
          <a:p>
            <a:endParaRPr lang="ru-RU" sz="1600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7" name="Freeform 11"/>
          <p:cNvSpPr>
            <a:spLocks noEditPoints="1"/>
          </p:cNvSpPr>
          <p:nvPr/>
        </p:nvSpPr>
        <p:spPr bwMode="auto">
          <a:xfrm>
            <a:off x="1884865" y="2107136"/>
            <a:ext cx="1080921" cy="1046001"/>
          </a:xfrm>
          <a:custGeom>
            <a:avLst/>
            <a:gdLst>
              <a:gd name="T0" fmla="*/ 927 w 2724"/>
              <a:gd name="T1" fmla="*/ 429 h 2636"/>
              <a:gd name="T2" fmla="*/ 851 w 2724"/>
              <a:gd name="T3" fmla="*/ 81 h 2636"/>
              <a:gd name="T4" fmla="*/ 503 w 2724"/>
              <a:gd name="T5" fmla="*/ 38 h 2636"/>
              <a:gd name="T6" fmla="*/ 346 w 2724"/>
              <a:gd name="T7" fmla="*/ 356 h 2636"/>
              <a:gd name="T8" fmla="*/ 586 w 2724"/>
              <a:gd name="T9" fmla="*/ 614 h 2636"/>
              <a:gd name="T10" fmla="*/ 1810 w 2724"/>
              <a:gd name="T11" fmla="*/ 671 h 2636"/>
              <a:gd name="T12" fmla="*/ 1782 w 2724"/>
              <a:gd name="T13" fmla="*/ 609 h 2636"/>
              <a:gd name="T14" fmla="*/ 1781 w 2724"/>
              <a:gd name="T15" fmla="*/ 712 h 2636"/>
              <a:gd name="T16" fmla="*/ 1832 w 2724"/>
              <a:gd name="T17" fmla="*/ 609 h 2636"/>
              <a:gd name="T18" fmla="*/ 1964 w 2724"/>
              <a:gd name="T19" fmla="*/ 844 h 2636"/>
              <a:gd name="T20" fmla="*/ 1741 w 2724"/>
              <a:gd name="T21" fmla="*/ 547 h 2636"/>
              <a:gd name="T22" fmla="*/ 1895 w 2724"/>
              <a:gd name="T23" fmla="*/ 670 h 2636"/>
              <a:gd name="T24" fmla="*/ 1670 w 2724"/>
              <a:gd name="T25" fmla="*/ 386 h 2636"/>
              <a:gd name="T26" fmla="*/ 1628 w 2724"/>
              <a:gd name="T27" fmla="*/ 583 h 2636"/>
              <a:gd name="T28" fmla="*/ 1760 w 2724"/>
              <a:gd name="T29" fmla="*/ 428 h 2636"/>
              <a:gd name="T30" fmla="*/ 2222 w 2724"/>
              <a:gd name="T31" fmla="*/ 388 h 2636"/>
              <a:gd name="T32" fmla="*/ 2254 w 2724"/>
              <a:gd name="T33" fmla="*/ 318 h 2636"/>
              <a:gd name="T34" fmla="*/ 2188 w 2724"/>
              <a:gd name="T35" fmla="*/ 402 h 2636"/>
              <a:gd name="T36" fmla="*/ 2256 w 2724"/>
              <a:gd name="T37" fmla="*/ 393 h 2636"/>
              <a:gd name="T38" fmla="*/ 2406 w 2724"/>
              <a:gd name="T39" fmla="*/ 484 h 2636"/>
              <a:gd name="T40" fmla="*/ 2150 w 2724"/>
              <a:gd name="T41" fmla="*/ 440 h 2636"/>
              <a:gd name="T42" fmla="*/ 2225 w 2724"/>
              <a:gd name="T43" fmla="*/ 290 h 2636"/>
              <a:gd name="T44" fmla="*/ 2078 w 2724"/>
              <a:gd name="T45" fmla="*/ 247 h 2636"/>
              <a:gd name="T46" fmla="*/ 2025 w 2724"/>
              <a:gd name="T47" fmla="*/ 412 h 2636"/>
              <a:gd name="T48" fmla="*/ 2092 w 2724"/>
              <a:gd name="T49" fmla="*/ 231 h 2636"/>
              <a:gd name="T50" fmla="*/ 2376 w 2724"/>
              <a:gd name="T51" fmla="*/ 688 h 2636"/>
              <a:gd name="T52" fmla="*/ 2364 w 2724"/>
              <a:gd name="T53" fmla="*/ 676 h 2636"/>
              <a:gd name="T54" fmla="*/ 2354 w 2724"/>
              <a:gd name="T55" fmla="*/ 794 h 2636"/>
              <a:gd name="T56" fmla="*/ 2415 w 2724"/>
              <a:gd name="T57" fmla="*/ 686 h 2636"/>
              <a:gd name="T58" fmla="*/ 2325 w 2724"/>
              <a:gd name="T59" fmla="*/ 647 h 2636"/>
              <a:gd name="T60" fmla="*/ 2406 w 2724"/>
              <a:gd name="T61" fmla="*/ 809 h 2636"/>
              <a:gd name="T62" fmla="*/ 2218 w 2724"/>
              <a:gd name="T63" fmla="*/ 596 h 2636"/>
              <a:gd name="T64" fmla="*/ 2117 w 2724"/>
              <a:gd name="T65" fmla="*/ 746 h 2636"/>
              <a:gd name="T66" fmla="*/ 1623 w 2724"/>
              <a:gd name="T67" fmla="*/ 1174 h 2636"/>
              <a:gd name="T68" fmla="*/ 2347 w 2724"/>
              <a:gd name="T69" fmla="*/ 1280 h 2636"/>
              <a:gd name="T70" fmla="*/ 2611 w 2724"/>
              <a:gd name="T71" fmla="*/ 429 h 2636"/>
              <a:gd name="T72" fmla="*/ 1366 w 2724"/>
              <a:gd name="T73" fmla="*/ 1314 h 2636"/>
              <a:gd name="T74" fmla="*/ 1184 w 2724"/>
              <a:gd name="T75" fmla="*/ 1462 h 2636"/>
              <a:gd name="T76" fmla="*/ 1450 w 2724"/>
              <a:gd name="T77" fmla="*/ 2439 h 2636"/>
              <a:gd name="T78" fmla="*/ 2452 w 2724"/>
              <a:gd name="T79" fmla="*/ 2387 h 2636"/>
              <a:gd name="T80" fmla="*/ 2676 w 2724"/>
              <a:gd name="T81" fmla="*/ 1522 h 2636"/>
              <a:gd name="T82" fmla="*/ 2625 w 2724"/>
              <a:gd name="T83" fmla="*/ 1316 h 2636"/>
              <a:gd name="T84" fmla="*/ 237 w 2724"/>
              <a:gd name="T85" fmla="*/ 1839 h 2636"/>
              <a:gd name="T86" fmla="*/ 200 w 2724"/>
              <a:gd name="T87" fmla="*/ 797 h 2636"/>
              <a:gd name="T88" fmla="*/ 0 w 2724"/>
              <a:gd name="T89" fmla="*/ 1070 h 2636"/>
              <a:gd name="T90" fmla="*/ 41 w 2724"/>
              <a:gd name="T91" fmla="*/ 2091 h 2636"/>
              <a:gd name="T92" fmla="*/ 76 w 2724"/>
              <a:gd name="T93" fmla="*/ 2623 h 2636"/>
              <a:gd name="T94" fmla="*/ 222 w 2724"/>
              <a:gd name="T95" fmla="*/ 2240 h 2636"/>
              <a:gd name="T96" fmla="*/ 613 w 2724"/>
              <a:gd name="T97" fmla="*/ 2114 h 2636"/>
              <a:gd name="T98" fmla="*/ 714 w 2724"/>
              <a:gd name="T99" fmla="*/ 2525 h 2636"/>
              <a:gd name="T100" fmla="*/ 874 w 2724"/>
              <a:gd name="T101" fmla="*/ 2612 h 2636"/>
              <a:gd name="T102" fmla="*/ 874 w 2724"/>
              <a:gd name="T103" fmla="*/ 2065 h 2636"/>
              <a:gd name="T104" fmla="*/ 1128 w 2724"/>
              <a:gd name="T105" fmla="*/ 1510 h 2636"/>
              <a:gd name="T106" fmla="*/ 972 w 2724"/>
              <a:gd name="T107" fmla="*/ 1251 h 2636"/>
              <a:gd name="T108" fmla="*/ 1476 w 2724"/>
              <a:gd name="T109" fmla="*/ 1170 h 2636"/>
              <a:gd name="T110" fmla="*/ 1281 w 2724"/>
              <a:gd name="T111" fmla="*/ 1030 h 2636"/>
              <a:gd name="T112" fmla="*/ 827 w 2724"/>
              <a:gd name="T113" fmla="*/ 759 h 2636"/>
              <a:gd name="T114" fmla="*/ 415 w 2724"/>
              <a:gd name="T115" fmla="*/ 675 h 2636"/>
              <a:gd name="T116" fmla="*/ 302 w 2724"/>
              <a:gd name="T117" fmla="*/ 1609 h 2636"/>
              <a:gd name="T118" fmla="*/ 889 w 2724"/>
              <a:gd name="T119" fmla="*/ 1796 h 2636"/>
              <a:gd name="T120" fmla="*/ 1147 w 2724"/>
              <a:gd name="T121" fmla="*/ 2610 h 2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724" h="2636">
                <a:moveTo>
                  <a:pt x="647" y="620"/>
                </a:moveTo>
                <a:lnTo>
                  <a:pt x="663" y="619"/>
                </a:lnTo>
                <a:lnTo>
                  <a:pt x="677" y="618"/>
                </a:lnTo>
                <a:lnTo>
                  <a:pt x="693" y="616"/>
                </a:lnTo>
                <a:lnTo>
                  <a:pt x="708" y="614"/>
                </a:lnTo>
                <a:lnTo>
                  <a:pt x="722" y="610"/>
                </a:lnTo>
                <a:lnTo>
                  <a:pt x="737" y="605"/>
                </a:lnTo>
                <a:lnTo>
                  <a:pt x="750" y="600"/>
                </a:lnTo>
                <a:lnTo>
                  <a:pt x="765" y="596"/>
                </a:lnTo>
                <a:lnTo>
                  <a:pt x="778" y="588"/>
                </a:lnTo>
                <a:lnTo>
                  <a:pt x="792" y="582"/>
                </a:lnTo>
                <a:lnTo>
                  <a:pt x="804" y="575"/>
                </a:lnTo>
                <a:lnTo>
                  <a:pt x="816" y="566"/>
                </a:lnTo>
                <a:lnTo>
                  <a:pt x="828" y="558"/>
                </a:lnTo>
                <a:lnTo>
                  <a:pt x="840" y="548"/>
                </a:lnTo>
                <a:lnTo>
                  <a:pt x="851" y="538"/>
                </a:lnTo>
                <a:lnTo>
                  <a:pt x="862" y="528"/>
                </a:lnTo>
                <a:lnTo>
                  <a:pt x="872" y="517"/>
                </a:lnTo>
                <a:lnTo>
                  <a:pt x="881" y="506"/>
                </a:lnTo>
                <a:lnTo>
                  <a:pt x="890" y="494"/>
                </a:lnTo>
                <a:lnTo>
                  <a:pt x="898" y="482"/>
                </a:lnTo>
                <a:lnTo>
                  <a:pt x="907" y="470"/>
                </a:lnTo>
                <a:lnTo>
                  <a:pt x="914" y="456"/>
                </a:lnTo>
                <a:lnTo>
                  <a:pt x="921" y="443"/>
                </a:lnTo>
                <a:lnTo>
                  <a:pt x="927" y="429"/>
                </a:lnTo>
                <a:lnTo>
                  <a:pt x="932" y="416"/>
                </a:lnTo>
                <a:lnTo>
                  <a:pt x="937" y="401"/>
                </a:lnTo>
                <a:lnTo>
                  <a:pt x="942" y="386"/>
                </a:lnTo>
                <a:lnTo>
                  <a:pt x="946" y="372"/>
                </a:lnTo>
                <a:lnTo>
                  <a:pt x="948" y="356"/>
                </a:lnTo>
                <a:lnTo>
                  <a:pt x="949" y="341"/>
                </a:lnTo>
                <a:lnTo>
                  <a:pt x="951" y="325"/>
                </a:lnTo>
                <a:lnTo>
                  <a:pt x="952" y="309"/>
                </a:lnTo>
                <a:lnTo>
                  <a:pt x="951" y="294"/>
                </a:lnTo>
                <a:lnTo>
                  <a:pt x="949" y="279"/>
                </a:lnTo>
                <a:lnTo>
                  <a:pt x="948" y="263"/>
                </a:lnTo>
                <a:lnTo>
                  <a:pt x="946" y="248"/>
                </a:lnTo>
                <a:lnTo>
                  <a:pt x="942" y="232"/>
                </a:lnTo>
                <a:lnTo>
                  <a:pt x="937" y="218"/>
                </a:lnTo>
                <a:lnTo>
                  <a:pt x="932" y="204"/>
                </a:lnTo>
                <a:lnTo>
                  <a:pt x="927" y="190"/>
                </a:lnTo>
                <a:lnTo>
                  <a:pt x="921" y="176"/>
                </a:lnTo>
                <a:lnTo>
                  <a:pt x="914" y="163"/>
                </a:lnTo>
                <a:lnTo>
                  <a:pt x="907" y="150"/>
                </a:lnTo>
                <a:lnTo>
                  <a:pt x="898" y="137"/>
                </a:lnTo>
                <a:lnTo>
                  <a:pt x="890" y="125"/>
                </a:lnTo>
                <a:lnTo>
                  <a:pt x="881" y="114"/>
                </a:lnTo>
                <a:lnTo>
                  <a:pt x="872" y="102"/>
                </a:lnTo>
                <a:lnTo>
                  <a:pt x="862" y="92"/>
                </a:lnTo>
                <a:lnTo>
                  <a:pt x="851" y="81"/>
                </a:lnTo>
                <a:lnTo>
                  <a:pt x="840" y="71"/>
                </a:lnTo>
                <a:lnTo>
                  <a:pt x="828" y="62"/>
                </a:lnTo>
                <a:lnTo>
                  <a:pt x="816" y="53"/>
                </a:lnTo>
                <a:lnTo>
                  <a:pt x="804" y="45"/>
                </a:lnTo>
                <a:lnTo>
                  <a:pt x="792" y="38"/>
                </a:lnTo>
                <a:lnTo>
                  <a:pt x="778" y="31"/>
                </a:lnTo>
                <a:lnTo>
                  <a:pt x="765" y="25"/>
                </a:lnTo>
                <a:lnTo>
                  <a:pt x="750" y="18"/>
                </a:lnTo>
                <a:lnTo>
                  <a:pt x="737" y="14"/>
                </a:lnTo>
                <a:lnTo>
                  <a:pt x="722" y="10"/>
                </a:lnTo>
                <a:lnTo>
                  <a:pt x="708" y="6"/>
                </a:lnTo>
                <a:lnTo>
                  <a:pt x="693" y="4"/>
                </a:lnTo>
                <a:lnTo>
                  <a:pt x="677" y="1"/>
                </a:lnTo>
                <a:lnTo>
                  <a:pt x="663" y="0"/>
                </a:lnTo>
                <a:lnTo>
                  <a:pt x="647" y="0"/>
                </a:lnTo>
                <a:lnTo>
                  <a:pt x="631" y="0"/>
                </a:lnTo>
                <a:lnTo>
                  <a:pt x="615" y="1"/>
                </a:lnTo>
                <a:lnTo>
                  <a:pt x="601" y="4"/>
                </a:lnTo>
                <a:lnTo>
                  <a:pt x="586" y="6"/>
                </a:lnTo>
                <a:lnTo>
                  <a:pt x="572" y="10"/>
                </a:lnTo>
                <a:lnTo>
                  <a:pt x="557" y="14"/>
                </a:lnTo>
                <a:lnTo>
                  <a:pt x="543" y="18"/>
                </a:lnTo>
                <a:lnTo>
                  <a:pt x="529" y="25"/>
                </a:lnTo>
                <a:lnTo>
                  <a:pt x="516" y="31"/>
                </a:lnTo>
                <a:lnTo>
                  <a:pt x="503" y="38"/>
                </a:lnTo>
                <a:lnTo>
                  <a:pt x="489" y="45"/>
                </a:lnTo>
                <a:lnTo>
                  <a:pt x="477" y="53"/>
                </a:lnTo>
                <a:lnTo>
                  <a:pt x="465" y="62"/>
                </a:lnTo>
                <a:lnTo>
                  <a:pt x="454" y="71"/>
                </a:lnTo>
                <a:lnTo>
                  <a:pt x="443" y="81"/>
                </a:lnTo>
                <a:lnTo>
                  <a:pt x="432" y="92"/>
                </a:lnTo>
                <a:lnTo>
                  <a:pt x="422" y="102"/>
                </a:lnTo>
                <a:lnTo>
                  <a:pt x="413" y="114"/>
                </a:lnTo>
                <a:lnTo>
                  <a:pt x="403" y="125"/>
                </a:lnTo>
                <a:lnTo>
                  <a:pt x="395" y="137"/>
                </a:lnTo>
                <a:lnTo>
                  <a:pt x="386" y="150"/>
                </a:lnTo>
                <a:lnTo>
                  <a:pt x="379" y="163"/>
                </a:lnTo>
                <a:lnTo>
                  <a:pt x="373" y="176"/>
                </a:lnTo>
                <a:lnTo>
                  <a:pt x="367" y="190"/>
                </a:lnTo>
                <a:lnTo>
                  <a:pt x="361" y="204"/>
                </a:lnTo>
                <a:lnTo>
                  <a:pt x="356" y="218"/>
                </a:lnTo>
                <a:lnTo>
                  <a:pt x="352" y="232"/>
                </a:lnTo>
                <a:lnTo>
                  <a:pt x="348" y="248"/>
                </a:lnTo>
                <a:lnTo>
                  <a:pt x="346" y="263"/>
                </a:lnTo>
                <a:lnTo>
                  <a:pt x="344" y="279"/>
                </a:lnTo>
                <a:lnTo>
                  <a:pt x="342" y="294"/>
                </a:lnTo>
                <a:lnTo>
                  <a:pt x="342" y="309"/>
                </a:lnTo>
                <a:lnTo>
                  <a:pt x="342" y="325"/>
                </a:lnTo>
                <a:lnTo>
                  <a:pt x="344" y="341"/>
                </a:lnTo>
                <a:lnTo>
                  <a:pt x="346" y="356"/>
                </a:lnTo>
                <a:lnTo>
                  <a:pt x="348" y="372"/>
                </a:lnTo>
                <a:lnTo>
                  <a:pt x="352" y="386"/>
                </a:lnTo>
                <a:lnTo>
                  <a:pt x="356" y="401"/>
                </a:lnTo>
                <a:lnTo>
                  <a:pt x="361" y="416"/>
                </a:lnTo>
                <a:lnTo>
                  <a:pt x="367" y="429"/>
                </a:lnTo>
                <a:lnTo>
                  <a:pt x="373" y="443"/>
                </a:lnTo>
                <a:lnTo>
                  <a:pt x="379" y="456"/>
                </a:lnTo>
                <a:lnTo>
                  <a:pt x="386" y="470"/>
                </a:lnTo>
                <a:lnTo>
                  <a:pt x="395" y="482"/>
                </a:lnTo>
                <a:lnTo>
                  <a:pt x="403" y="494"/>
                </a:lnTo>
                <a:lnTo>
                  <a:pt x="413" y="506"/>
                </a:lnTo>
                <a:lnTo>
                  <a:pt x="422" y="517"/>
                </a:lnTo>
                <a:lnTo>
                  <a:pt x="432" y="528"/>
                </a:lnTo>
                <a:lnTo>
                  <a:pt x="443" y="538"/>
                </a:lnTo>
                <a:lnTo>
                  <a:pt x="454" y="548"/>
                </a:lnTo>
                <a:lnTo>
                  <a:pt x="465" y="558"/>
                </a:lnTo>
                <a:lnTo>
                  <a:pt x="477" y="566"/>
                </a:lnTo>
                <a:lnTo>
                  <a:pt x="489" y="575"/>
                </a:lnTo>
                <a:lnTo>
                  <a:pt x="503" y="582"/>
                </a:lnTo>
                <a:lnTo>
                  <a:pt x="516" y="588"/>
                </a:lnTo>
                <a:lnTo>
                  <a:pt x="529" y="596"/>
                </a:lnTo>
                <a:lnTo>
                  <a:pt x="543" y="600"/>
                </a:lnTo>
                <a:lnTo>
                  <a:pt x="557" y="605"/>
                </a:lnTo>
                <a:lnTo>
                  <a:pt x="572" y="610"/>
                </a:lnTo>
                <a:lnTo>
                  <a:pt x="586" y="614"/>
                </a:lnTo>
                <a:lnTo>
                  <a:pt x="601" y="616"/>
                </a:lnTo>
                <a:lnTo>
                  <a:pt x="615" y="618"/>
                </a:lnTo>
                <a:lnTo>
                  <a:pt x="631" y="619"/>
                </a:lnTo>
                <a:lnTo>
                  <a:pt x="647" y="620"/>
                </a:lnTo>
                <a:close/>
                <a:moveTo>
                  <a:pt x="1804" y="615"/>
                </a:moveTo>
                <a:lnTo>
                  <a:pt x="1804" y="609"/>
                </a:lnTo>
                <a:lnTo>
                  <a:pt x="1804" y="603"/>
                </a:lnTo>
                <a:lnTo>
                  <a:pt x="1804" y="602"/>
                </a:lnTo>
                <a:lnTo>
                  <a:pt x="1804" y="598"/>
                </a:lnTo>
                <a:lnTo>
                  <a:pt x="1804" y="596"/>
                </a:lnTo>
                <a:lnTo>
                  <a:pt x="1806" y="594"/>
                </a:lnTo>
                <a:lnTo>
                  <a:pt x="1810" y="594"/>
                </a:lnTo>
                <a:lnTo>
                  <a:pt x="1811" y="594"/>
                </a:lnTo>
                <a:lnTo>
                  <a:pt x="1817" y="594"/>
                </a:lnTo>
                <a:lnTo>
                  <a:pt x="1804" y="615"/>
                </a:lnTo>
                <a:close/>
                <a:moveTo>
                  <a:pt x="1810" y="671"/>
                </a:moveTo>
                <a:lnTo>
                  <a:pt x="1810" y="675"/>
                </a:lnTo>
                <a:lnTo>
                  <a:pt x="1809" y="677"/>
                </a:lnTo>
                <a:lnTo>
                  <a:pt x="1804" y="675"/>
                </a:lnTo>
                <a:lnTo>
                  <a:pt x="1797" y="671"/>
                </a:lnTo>
                <a:lnTo>
                  <a:pt x="1809" y="659"/>
                </a:lnTo>
                <a:lnTo>
                  <a:pt x="1810" y="658"/>
                </a:lnTo>
                <a:lnTo>
                  <a:pt x="1810" y="664"/>
                </a:lnTo>
                <a:lnTo>
                  <a:pt x="1810" y="670"/>
                </a:lnTo>
                <a:lnTo>
                  <a:pt x="1810" y="671"/>
                </a:lnTo>
                <a:close/>
                <a:moveTo>
                  <a:pt x="1838" y="587"/>
                </a:moveTo>
                <a:lnTo>
                  <a:pt x="1844" y="575"/>
                </a:lnTo>
                <a:lnTo>
                  <a:pt x="1845" y="574"/>
                </a:lnTo>
                <a:lnTo>
                  <a:pt x="1833" y="567"/>
                </a:lnTo>
                <a:lnTo>
                  <a:pt x="1832" y="566"/>
                </a:lnTo>
                <a:lnTo>
                  <a:pt x="1826" y="578"/>
                </a:lnTo>
                <a:lnTo>
                  <a:pt x="1825" y="581"/>
                </a:lnTo>
                <a:lnTo>
                  <a:pt x="1819" y="576"/>
                </a:lnTo>
                <a:lnTo>
                  <a:pt x="1810" y="572"/>
                </a:lnTo>
                <a:lnTo>
                  <a:pt x="1806" y="571"/>
                </a:lnTo>
                <a:lnTo>
                  <a:pt x="1803" y="571"/>
                </a:lnTo>
                <a:lnTo>
                  <a:pt x="1799" y="571"/>
                </a:lnTo>
                <a:lnTo>
                  <a:pt x="1797" y="574"/>
                </a:lnTo>
                <a:lnTo>
                  <a:pt x="1792" y="574"/>
                </a:lnTo>
                <a:lnTo>
                  <a:pt x="1787" y="575"/>
                </a:lnTo>
                <a:lnTo>
                  <a:pt x="1785" y="575"/>
                </a:lnTo>
                <a:lnTo>
                  <a:pt x="1783" y="576"/>
                </a:lnTo>
                <a:lnTo>
                  <a:pt x="1783" y="578"/>
                </a:lnTo>
                <a:lnTo>
                  <a:pt x="1782" y="581"/>
                </a:lnTo>
                <a:lnTo>
                  <a:pt x="1781" y="586"/>
                </a:lnTo>
                <a:lnTo>
                  <a:pt x="1780" y="592"/>
                </a:lnTo>
                <a:lnTo>
                  <a:pt x="1780" y="596"/>
                </a:lnTo>
                <a:lnTo>
                  <a:pt x="1780" y="599"/>
                </a:lnTo>
                <a:lnTo>
                  <a:pt x="1781" y="604"/>
                </a:lnTo>
                <a:lnTo>
                  <a:pt x="1782" y="609"/>
                </a:lnTo>
                <a:lnTo>
                  <a:pt x="1786" y="619"/>
                </a:lnTo>
                <a:lnTo>
                  <a:pt x="1789" y="630"/>
                </a:lnTo>
                <a:lnTo>
                  <a:pt x="1796" y="636"/>
                </a:lnTo>
                <a:lnTo>
                  <a:pt x="1797" y="637"/>
                </a:lnTo>
                <a:lnTo>
                  <a:pt x="1785" y="662"/>
                </a:lnTo>
                <a:lnTo>
                  <a:pt x="1782" y="664"/>
                </a:lnTo>
                <a:lnTo>
                  <a:pt x="1779" y="660"/>
                </a:lnTo>
                <a:lnTo>
                  <a:pt x="1776" y="651"/>
                </a:lnTo>
                <a:lnTo>
                  <a:pt x="1766" y="641"/>
                </a:lnTo>
                <a:lnTo>
                  <a:pt x="1762" y="637"/>
                </a:lnTo>
                <a:lnTo>
                  <a:pt x="1762" y="631"/>
                </a:lnTo>
                <a:lnTo>
                  <a:pt x="1762" y="630"/>
                </a:lnTo>
                <a:lnTo>
                  <a:pt x="1749" y="648"/>
                </a:lnTo>
                <a:lnTo>
                  <a:pt x="1747" y="651"/>
                </a:lnTo>
                <a:lnTo>
                  <a:pt x="1753" y="651"/>
                </a:lnTo>
                <a:lnTo>
                  <a:pt x="1754" y="651"/>
                </a:lnTo>
                <a:lnTo>
                  <a:pt x="1755" y="655"/>
                </a:lnTo>
                <a:lnTo>
                  <a:pt x="1757" y="660"/>
                </a:lnTo>
                <a:lnTo>
                  <a:pt x="1759" y="664"/>
                </a:lnTo>
                <a:lnTo>
                  <a:pt x="1763" y="668"/>
                </a:lnTo>
                <a:lnTo>
                  <a:pt x="1769" y="676"/>
                </a:lnTo>
                <a:lnTo>
                  <a:pt x="1776" y="686"/>
                </a:lnTo>
                <a:lnTo>
                  <a:pt x="1769" y="698"/>
                </a:lnTo>
                <a:lnTo>
                  <a:pt x="1769" y="699"/>
                </a:lnTo>
                <a:lnTo>
                  <a:pt x="1781" y="712"/>
                </a:lnTo>
                <a:lnTo>
                  <a:pt x="1782" y="714"/>
                </a:lnTo>
                <a:lnTo>
                  <a:pt x="1788" y="696"/>
                </a:lnTo>
                <a:lnTo>
                  <a:pt x="1789" y="692"/>
                </a:lnTo>
                <a:lnTo>
                  <a:pt x="1799" y="697"/>
                </a:lnTo>
                <a:lnTo>
                  <a:pt x="1806" y="702"/>
                </a:lnTo>
                <a:lnTo>
                  <a:pt x="1809" y="702"/>
                </a:lnTo>
                <a:lnTo>
                  <a:pt x="1813" y="702"/>
                </a:lnTo>
                <a:lnTo>
                  <a:pt x="1815" y="702"/>
                </a:lnTo>
                <a:lnTo>
                  <a:pt x="1817" y="699"/>
                </a:lnTo>
                <a:lnTo>
                  <a:pt x="1822" y="699"/>
                </a:lnTo>
                <a:lnTo>
                  <a:pt x="1827" y="698"/>
                </a:lnTo>
                <a:lnTo>
                  <a:pt x="1828" y="698"/>
                </a:lnTo>
                <a:lnTo>
                  <a:pt x="1831" y="697"/>
                </a:lnTo>
                <a:lnTo>
                  <a:pt x="1831" y="695"/>
                </a:lnTo>
                <a:lnTo>
                  <a:pt x="1832" y="692"/>
                </a:lnTo>
                <a:lnTo>
                  <a:pt x="1836" y="687"/>
                </a:lnTo>
                <a:lnTo>
                  <a:pt x="1837" y="682"/>
                </a:lnTo>
                <a:lnTo>
                  <a:pt x="1836" y="676"/>
                </a:lnTo>
                <a:lnTo>
                  <a:pt x="1832" y="671"/>
                </a:lnTo>
                <a:lnTo>
                  <a:pt x="1831" y="662"/>
                </a:lnTo>
                <a:lnTo>
                  <a:pt x="1829" y="654"/>
                </a:lnTo>
                <a:lnTo>
                  <a:pt x="1826" y="646"/>
                </a:lnTo>
                <a:lnTo>
                  <a:pt x="1817" y="637"/>
                </a:lnTo>
                <a:lnTo>
                  <a:pt x="1829" y="611"/>
                </a:lnTo>
                <a:lnTo>
                  <a:pt x="1832" y="609"/>
                </a:lnTo>
                <a:lnTo>
                  <a:pt x="1833" y="614"/>
                </a:lnTo>
                <a:lnTo>
                  <a:pt x="1836" y="619"/>
                </a:lnTo>
                <a:lnTo>
                  <a:pt x="1840" y="624"/>
                </a:lnTo>
                <a:lnTo>
                  <a:pt x="1845" y="630"/>
                </a:lnTo>
                <a:lnTo>
                  <a:pt x="1845" y="636"/>
                </a:lnTo>
                <a:lnTo>
                  <a:pt x="1845" y="637"/>
                </a:lnTo>
                <a:lnTo>
                  <a:pt x="1857" y="624"/>
                </a:lnTo>
                <a:lnTo>
                  <a:pt x="1860" y="622"/>
                </a:lnTo>
                <a:lnTo>
                  <a:pt x="1860" y="616"/>
                </a:lnTo>
                <a:lnTo>
                  <a:pt x="1860" y="615"/>
                </a:lnTo>
                <a:lnTo>
                  <a:pt x="1854" y="610"/>
                </a:lnTo>
                <a:lnTo>
                  <a:pt x="1849" y="604"/>
                </a:lnTo>
                <a:lnTo>
                  <a:pt x="1844" y="597"/>
                </a:lnTo>
                <a:lnTo>
                  <a:pt x="1838" y="587"/>
                </a:lnTo>
                <a:close/>
                <a:moveTo>
                  <a:pt x="1894" y="858"/>
                </a:moveTo>
                <a:lnTo>
                  <a:pt x="1896" y="853"/>
                </a:lnTo>
                <a:lnTo>
                  <a:pt x="1900" y="849"/>
                </a:lnTo>
                <a:lnTo>
                  <a:pt x="1904" y="845"/>
                </a:lnTo>
                <a:lnTo>
                  <a:pt x="1907" y="842"/>
                </a:lnTo>
                <a:lnTo>
                  <a:pt x="1914" y="838"/>
                </a:lnTo>
                <a:lnTo>
                  <a:pt x="1924" y="835"/>
                </a:lnTo>
                <a:lnTo>
                  <a:pt x="1933" y="835"/>
                </a:lnTo>
                <a:lnTo>
                  <a:pt x="1944" y="836"/>
                </a:lnTo>
                <a:lnTo>
                  <a:pt x="1953" y="840"/>
                </a:lnTo>
                <a:lnTo>
                  <a:pt x="1964" y="844"/>
                </a:lnTo>
                <a:lnTo>
                  <a:pt x="1952" y="877"/>
                </a:lnTo>
                <a:lnTo>
                  <a:pt x="1945" y="894"/>
                </a:lnTo>
                <a:lnTo>
                  <a:pt x="1944" y="900"/>
                </a:lnTo>
                <a:lnTo>
                  <a:pt x="1942" y="901"/>
                </a:lnTo>
                <a:lnTo>
                  <a:pt x="1894" y="858"/>
                </a:lnTo>
                <a:close/>
                <a:moveTo>
                  <a:pt x="1768" y="731"/>
                </a:moveTo>
                <a:lnTo>
                  <a:pt x="1759" y="724"/>
                </a:lnTo>
                <a:lnTo>
                  <a:pt x="1752" y="714"/>
                </a:lnTo>
                <a:lnTo>
                  <a:pt x="1745" y="706"/>
                </a:lnTo>
                <a:lnTo>
                  <a:pt x="1738" y="696"/>
                </a:lnTo>
                <a:lnTo>
                  <a:pt x="1732" y="685"/>
                </a:lnTo>
                <a:lnTo>
                  <a:pt x="1728" y="675"/>
                </a:lnTo>
                <a:lnTo>
                  <a:pt x="1724" y="664"/>
                </a:lnTo>
                <a:lnTo>
                  <a:pt x="1721" y="653"/>
                </a:lnTo>
                <a:lnTo>
                  <a:pt x="1719" y="642"/>
                </a:lnTo>
                <a:lnTo>
                  <a:pt x="1718" y="631"/>
                </a:lnTo>
                <a:lnTo>
                  <a:pt x="1717" y="620"/>
                </a:lnTo>
                <a:lnTo>
                  <a:pt x="1717" y="610"/>
                </a:lnTo>
                <a:lnTo>
                  <a:pt x="1718" y="599"/>
                </a:lnTo>
                <a:lnTo>
                  <a:pt x="1720" y="589"/>
                </a:lnTo>
                <a:lnTo>
                  <a:pt x="1723" y="580"/>
                </a:lnTo>
                <a:lnTo>
                  <a:pt x="1726" y="570"/>
                </a:lnTo>
                <a:lnTo>
                  <a:pt x="1731" y="561"/>
                </a:lnTo>
                <a:lnTo>
                  <a:pt x="1736" y="553"/>
                </a:lnTo>
                <a:lnTo>
                  <a:pt x="1741" y="547"/>
                </a:lnTo>
                <a:lnTo>
                  <a:pt x="1748" y="540"/>
                </a:lnTo>
                <a:lnTo>
                  <a:pt x="1754" y="536"/>
                </a:lnTo>
                <a:lnTo>
                  <a:pt x="1762" y="532"/>
                </a:lnTo>
                <a:lnTo>
                  <a:pt x="1770" y="529"/>
                </a:lnTo>
                <a:lnTo>
                  <a:pt x="1777" y="528"/>
                </a:lnTo>
                <a:lnTo>
                  <a:pt x="1786" y="528"/>
                </a:lnTo>
                <a:lnTo>
                  <a:pt x="1794" y="528"/>
                </a:lnTo>
                <a:lnTo>
                  <a:pt x="1803" y="531"/>
                </a:lnTo>
                <a:lnTo>
                  <a:pt x="1811" y="533"/>
                </a:lnTo>
                <a:lnTo>
                  <a:pt x="1820" y="537"/>
                </a:lnTo>
                <a:lnTo>
                  <a:pt x="1828" y="542"/>
                </a:lnTo>
                <a:lnTo>
                  <a:pt x="1837" y="548"/>
                </a:lnTo>
                <a:lnTo>
                  <a:pt x="1845" y="555"/>
                </a:lnTo>
                <a:lnTo>
                  <a:pt x="1853" y="563"/>
                </a:lnTo>
                <a:lnTo>
                  <a:pt x="1860" y="570"/>
                </a:lnTo>
                <a:lnTo>
                  <a:pt x="1866" y="578"/>
                </a:lnTo>
                <a:lnTo>
                  <a:pt x="1872" y="588"/>
                </a:lnTo>
                <a:lnTo>
                  <a:pt x="1878" y="597"/>
                </a:lnTo>
                <a:lnTo>
                  <a:pt x="1882" y="607"/>
                </a:lnTo>
                <a:lnTo>
                  <a:pt x="1887" y="618"/>
                </a:lnTo>
                <a:lnTo>
                  <a:pt x="1889" y="627"/>
                </a:lnTo>
                <a:lnTo>
                  <a:pt x="1893" y="638"/>
                </a:lnTo>
                <a:lnTo>
                  <a:pt x="1894" y="649"/>
                </a:lnTo>
                <a:lnTo>
                  <a:pt x="1895" y="660"/>
                </a:lnTo>
                <a:lnTo>
                  <a:pt x="1895" y="670"/>
                </a:lnTo>
                <a:lnTo>
                  <a:pt x="1894" y="681"/>
                </a:lnTo>
                <a:lnTo>
                  <a:pt x="1893" y="691"/>
                </a:lnTo>
                <a:lnTo>
                  <a:pt x="1890" y="701"/>
                </a:lnTo>
                <a:lnTo>
                  <a:pt x="1887" y="710"/>
                </a:lnTo>
                <a:lnTo>
                  <a:pt x="1883" y="719"/>
                </a:lnTo>
                <a:lnTo>
                  <a:pt x="1878" y="728"/>
                </a:lnTo>
                <a:lnTo>
                  <a:pt x="1872" y="734"/>
                </a:lnTo>
                <a:lnTo>
                  <a:pt x="1866" y="740"/>
                </a:lnTo>
                <a:lnTo>
                  <a:pt x="1859" y="745"/>
                </a:lnTo>
                <a:lnTo>
                  <a:pt x="1851" y="748"/>
                </a:lnTo>
                <a:lnTo>
                  <a:pt x="1843" y="751"/>
                </a:lnTo>
                <a:lnTo>
                  <a:pt x="1836" y="753"/>
                </a:lnTo>
                <a:lnTo>
                  <a:pt x="1827" y="753"/>
                </a:lnTo>
                <a:lnTo>
                  <a:pt x="1819" y="753"/>
                </a:lnTo>
                <a:lnTo>
                  <a:pt x="1810" y="752"/>
                </a:lnTo>
                <a:lnTo>
                  <a:pt x="1802" y="750"/>
                </a:lnTo>
                <a:lnTo>
                  <a:pt x="1793" y="747"/>
                </a:lnTo>
                <a:lnTo>
                  <a:pt x="1785" y="742"/>
                </a:lnTo>
                <a:lnTo>
                  <a:pt x="1776" y="737"/>
                </a:lnTo>
                <a:lnTo>
                  <a:pt x="1768" y="731"/>
                </a:lnTo>
                <a:close/>
                <a:moveTo>
                  <a:pt x="1650" y="435"/>
                </a:moveTo>
                <a:lnTo>
                  <a:pt x="1662" y="407"/>
                </a:lnTo>
                <a:lnTo>
                  <a:pt x="1668" y="393"/>
                </a:lnTo>
                <a:lnTo>
                  <a:pt x="1670" y="388"/>
                </a:lnTo>
                <a:lnTo>
                  <a:pt x="1670" y="386"/>
                </a:lnTo>
                <a:lnTo>
                  <a:pt x="1698" y="411"/>
                </a:lnTo>
                <a:lnTo>
                  <a:pt x="1713" y="423"/>
                </a:lnTo>
                <a:lnTo>
                  <a:pt x="1719" y="428"/>
                </a:lnTo>
                <a:lnTo>
                  <a:pt x="1719" y="429"/>
                </a:lnTo>
                <a:lnTo>
                  <a:pt x="1713" y="435"/>
                </a:lnTo>
                <a:lnTo>
                  <a:pt x="1707" y="441"/>
                </a:lnTo>
                <a:lnTo>
                  <a:pt x="1698" y="446"/>
                </a:lnTo>
                <a:lnTo>
                  <a:pt x="1690" y="448"/>
                </a:lnTo>
                <a:lnTo>
                  <a:pt x="1680" y="449"/>
                </a:lnTo>
                <a:lnTo>
                  <a:pt x="1670" y="446"/>
                </a:lnTo>
                <a:lnTo>
                  <a:pt x="1660" y="443"/>
                </a:lnTo>
                <a:lnTo>
                  <a:pt x="1650" y="435"/>
                </a:lnTo>
                <a:close/>
                <a:moveTo>
                  <a:pt x="1628" y="633"/>
                </a:moveTo>
                <a:lnTo>
                  <a:pt x="1600" y="609"/>
                </a:lnTo>
                <a:lnTo>
                  <a:pt x="1585" y="596"/>
                </a:lnTo>
                <a:lnTo>
                  <a:pt x="1581" y="592"/>
                </a:lnTo>
                <a:lnTo>
                  <a:pt x="1579" y="591"/>
                </a:lnTo>
                <a:lnTo>
                  <a:pt x="1595" y="558"/>
                </a:lnTo>
                <a:lnTo>
                  <a:pt x="1604" y="542"/>
                </a:lnTo>
                <a:lnTo>
                  <a:pt x="1607" y="536"/>
                </a:lnTo>
                <a:lnTo>
                  <a:pt x="1607" y="534"/>
                </a:lnTo>
                <a:lnTo>
                  <a:pt x="1615" y="545"/>
                </a:lnTo>
                <a:lnTo>
                  <a:pt x="1621" y="558"/>
                </a:lnTo>
                <a:lnTo>
                  <a:pt x="1626" y="571"/>
                </a:lnTo>
                <a:lnTo>
                  <a:pt x="1628" y="583"/>
                </a:lnTo>
                <a:lnTo>
                  <a:pt x="1630" y="597"/>
                </a:lnTo>
                <a:lnTo>
                  <a:pt x="1632" y="610"/>
                </a:lnTo>
                <a:lnTo>
                  <a:pt x="1630" y="622"/>
                </a:lnTo>
                <a:lnTo>
                  <a:pt x="1628" y="633"/>
                </a:lnTo>
                <a:close/>
                <a:moveTo>
                  <a:pt x="1985" y="647"/>
                </a:moveTo>
                <a:lnTo>
                  <a:pt x="2013" y="675"/>
                </a:lnTo>
                <a:lnTo>
                  <a:pt x="2027" y="690"/>
                </a:lnTo>
                <a:lnTo>
                  <a:pt x="2032" y="696"/>
                </a:lnTo>
                <a:lnTo>
                  <a:pt x="2033" y="697"/>
                </a:lnTo>
                <a:lnTo>
                  <a:pt x="2018" y="725"/>
                </a:lnTo>
                <a:lnTo>
                  <a:pt x="2009" y="740"/>
                </a:lnTo>
                <a:lnTo>
                  <a:pt x="2006" y="745"/>
                </a:lnTo>
                <a:lnTo>
                  <a:pt x="2006" y="746"/>
                </a:lnTo>
                <a:lnTo>
                  <a:pt x="1998" y="735"/>
                </a:lnTo>
                <a:lnTo>
                  <a:pt x="1992" y="724"/>
                </a:lnTo>
                <a:lnTo>
                  <a:pt x="1986" y="712"/>
                </a:lnTo>
                <a:lnTo>
                  <a:pt x="1982" y="699"/>
                </a:lnTo>
                <a:lnTo>
                  <a:pt x="1980" y="686"/>
                </a:lnTo>
                <a:lnTo>
                  <a:pt x="1979" y="674"/>
                </a:lnTo>
                <a:lnTo>
                  <a:pt x="1981" y="660"/>
                </a:lnTo>
                <a:lnTo>
                  <a:pt x="1985" y="647"/>
                </a:lnTo>
                <a:close/>
                <a:moveTo>
                  <a:pt x="2061" y="690"/>
                </a:moveTo>
                <a:lnTo>
                  <a:pt x="1930" y="576"/>
                </a:lnTo>
                <a:lnTo>
                  <a:pt x="1832" y="489"/>
                </a:lnTo>
                <a:lnTo>
                  <a:pt x="1760" y="428"/>
                </a:lnTo>
                <a:lnTo>
                  <a:pt x="1713" y="388"/>
                </a:lnTo>
                <a:lnTo>
                  <a:pt x="1684" y="362"/>
                </a:lnTo>
                <a:lnTo>
                  <a:pt x="1669" y="350"/>
                </a:lnTo>
                <a:lnTo>
                  <a:pt x="1664" y="345"/>
                </a:lnTo>
                <a:lnTo>
                  <a:pt x="1663" y="344"/>
                </a:lnTo>
                <a:lnTo>
                  <a:pt x="1627" y="428"/>
                </a:lnTo>
                <a:lnTo>
                  <a:pt x="1599" y="490"/>
                </a:lnTo>
                <a:lnTo>
                  <a:pt x="1579" y="536"/>
                </a:lnTo>
                <a:lnTo>
                  <a:pt x="1566" y="566"/>
                </a:lnTo>
                <a:lnTo>
                  <a:pt x="1558" y="585"/>
                </a:lnTo>
                <a:lnTo>
                  <a:pt x="1554" y="594"/>
                </a:lnTo>
                <a:lnTo>
                  <a:pt x="1551" y="597"/>
                </a:lnTo>
                <a:lnTo>
                  <a:pt x="1551" y="598"/>
                </a:lnTo>
                <a:lnTo>
                  <a:pt x="1683" y="709"/>
                </a:lnTo>
                <a:lnTo>
                  <a:pt x="1782" y="794"/>
                </a:lnTo>
                <a:lnTo>
                  <a:pt x="1853" y="853"/>
                </a:lnTo>
                <a:lnTo>
                  <a:pt x="1900" y="894"/>
                </a:lnTo>
                <a:lnTo>
                  <a:pt x="1929" y="918"/>
                </a:lnTo>
                <a:lnTo>
                  <a:pt x="1944" y="930"/>
                </a:lnTo>
                <a:lnTo>
                  <a:pt x="1948" y="935"/>
                </a:lnTo>
                <a:lnTo>
                  <a:pt x="1950" y="935"/>
                </a:lnTo>
                <a:lnTo>
                  <a:pt x="2061" y="690"/>
                </a:lnTo>
                <a:close/>
                <a:moveTo>
                  <a:pt x="2216" y="402"/>
                </a:moveTo>
                <a:lnTo>
                  <a:pt x="2220" y="390"/>
                </a:lnTo>
                <a:lnTo>
                  <a:pt x="2222" y="388"/>
                </a:lnTo>
                <a:lnTo>
                  <a:pt x="2225" y="388"/>
                </a:lnTo>
                <a:lnTo>
                  <a:pt x="2228" y="389"/>
                </a:lnTo>
                <a:lnTo>
                  <a:pt x="2229" y="391"/>
                </a:lnTo>
                <a:lnTo>
                  <a:pt x="2229" y="395"/>
                </a:lnTo>
                <a:lnTo>
                  <a:pt x="2234" y="395"/>
                </a:lnTo>
                <a:lnTo>
                  <a:pt x="2229" y="395"/>
                </a:lnTo>
                <a:lnTo>
                  <a:pt x="2228" y="400"/>
                </a:lnTo>
                <a:lnTo>
                  <a:pt x="2226" y="401"/>
                </a:lnTo>
                <a:lnTo>
                  <a:pt x="2223" y="402"/>
                </a:lnTo>
                <a:lnTo>
                  <a:pt x="2216" y="402"/>
                </a:lnTo>
                <a:close/>
                <a:moveTo>
                  <a:pt x="2216" y="345"/>
                </a:moveTo>
                <a:lnTo>
                  <a:pt x="2216" y="345"/>
                </a:lnTo>
                <a:lnTo>
                  <a:pt x="2222" y="345"/>
                </a:lnTo>
                <a:lnTo>
                  <a:pt x="2223" y="345"/>
                </a:lnTo>
                <a:lnTo>
                  <a:pt x="2229" y="345"/>
                </a:lnTo>
                <a:lnTo>
                  <a:pt x="2223" y="358"/>
                </a:lnTo>
                <a:lnTo>
                  <a:pt x="2222" y="360"/>
                </a:lnTo>
                <a:lnTo>
                  <a:pt x="2218" y="358"/>
                </a:lnTo>
                <a:lnTo>
                  <a:pt x="2216" y="356"/>
                </a:lnTo>
                <a:lnTo>
                  <a:pt x="2216" y="353"/>
                </a:lnTo>
                <a:lnTo>
                  <a:pt x="2216" y="352"/>
                </a:lnTo>
                <a:lnTo>
                  <a:pt x="2216" y="351"/>
                </a:lnTo>
                <a:lnTo>
                  <a:pt x="2216" y="345"/>
                </a:lnTo>
                <a:close/>
                <a:moveTo>
                  <a:pt x="2248" y="324"/>
                </a:moveTo>
                <a:lnTo>
                  <a:pt x="2254" y="318"/>
                </a:lnTo>
                <a:lnTo>
                  <a:pt x="2256" y="317"/>
                </a:lnTo>
                <a:lnTo>
                  <a:pt x="2243" y="311"/>
                </a:lnTo>
                <a:lnTo>
                  <a:pt x="2242" y="309"/>
                </a:lnTo>
                <a:lnTo>
                  <a:pt x="2236" y="322"/>
                </a:lnTo>
                <a:lnTo>
                  <a:pt x="2235" y="324"/>
                </a:lnTo>
                <a:lnTo>
                  <a:pt x="2226" y="324"/>
                </a:lnTo>
                <a:lnTo>
                  <a:pt x="2219" y="325"/>
                </a:lnTo>
                <a:lnTo>
                  <a:pt x="2213" y="327"/>
                </a:lnTo>
                <a:lnTo>
                  <a:pt x="2208" y="331"/>
                </a:lnTo>
                <a:lnTo>
                  <a:pt x="2203" y="333"/>
                </a:lnTo>
                <a:lnTo>
                  <a:pt x="2199" y="335"/>
                </a:lnTo>
                <a:lnTo>
                  <a:pt x="2192" y="340"/>
                </a:lnTo>
                <a:lnTo>
                  <a:pt x="2188" y="345"/>
                </a:lnTo>
                <a:lnTo>
                  <a:pt x="2188" y="355"/>
                </a:lnTo>
                <a:lnTo>
                  <a:pt x="2188" y="360"/>
                </a:lnTo>
                <a:lnTo>
                  <a:pt x="2192" y="364"/>
                </a:lnTo>
                <a:lnTo>
                  <a:pt x="2199" y="369"/>
                </a:lnTo>
                <a:lnTo>
                  <a:pt x="2203" y="373"/>
                </a:lnTo>
                <a:lnTo>
                  <a:pt x="2208" y="374"/>
                </a:lnTo>
                <a:lnTo>
                  <a:pt x="2214" y="380"/>
                </a:lnTo>
                <a:lnTo>
                  <a:pt x="2216" y="382"/>
                </a:lnTo>
                <a:lnTo>
                  <a:pt x="2203" y="400"/>
                </a:lnTo>
                <a:lnTo>
                  <a:pt x="2201" y="402"/>
                </a:lnTo>
                <a:lnTo>
                  <a:pt x="2195" y="402"/>
                </a:lnTo>
                <a:lnTo>
                  <a:pt x="2188" y="402"/>
                </a:lnTo>
                <a:lnTo>
                  <a:pt x="2183" y="399"/>
                </a:lnTo>
                <a:lnTo>
                  <a:pt x="2179" y="395"/>
                </a:lnTo>
                <a:lnTo>
                  <a:pt x="2175" y="393"/>
                </a:lnTo>
                <a:lnTo>
                  <a:pt x="2174" y="388"/>
                </a:lnTo>
                <a:lnTo>
                  <a:pt x="2162" y="407"/>
                </a:lnTo>
                <a:lnTo>
                  <a:pt x="2161" y="410"/>
                </a:lnTo>
                <a:lnTo>
                  <a:pt x="2167" y="410"/>
                </a:lnTo>
                <a:lnTo>
                  <a:pt x="2168" y="410"/>
                </a:lnTo>
                <a:lnTo>
                  <a:pt x="2179" y="417"/>
                </a:lnTo>
                <a:lnTo>
                  <a:pt x="2195" y="424"/>
                </a:lnTo>
                <a:lnTo>
                  <a:pt x="2189" y="437"/>
                </a:lnTo>
                <a:lnTo>
                  <a:pt x="2188" y="438"/>
                </a:lnTo>
                <a:lnTo>
                  <a:pt x="2200" y="438"/>
                </a:lnTo>
                <a:lnTo>
                  <a:pt x="2201" y="438"/>
                </a:lnTo>
                <a:lnTo>
                  <a:pt x="2207" y="426"/>
                </a:lnTo>
                <a:lnTo>
                  <a:pt x="2208" y="424"/>
                </a:lnTo>
                <a:lnTo>
                  <a:pt x="2217" y="423"/>
                </a:lnTo>
                <a:lnTo>
                  <a:pt x="2225" y="423"/>
                </a:lnTo>
                <a:lnTo>
                  <a:pt x="2233" y="421"/>
                </a:lnTo>
                <a:lnTo>
                  <a:pt x="2242" y="417"/>
                </a:lnTo>
                <a:lnTo>
                  <a:pt x="2247" y="416"/>
                </a:lnTo>
                <a:lnTo>
                  <a:pt x="2251" y="412"/>
                </a:lnTo>
                <a:lnTo>
                  <a:pt x="2254" y="407"/>
                </a:lnTo>
                <a:lnTo>
                  <a:pt x="2256" y="402"/>
                </a:lnTo>
                <a:lnTo>
                  <a:pt x="2256" y="393"/>
                </a:lnTo>
                <a:lnTo>
                  <a:pt x="2256" y="388"/>
                </a:lnTo>
                <a:lnTo>
                  <a:pt x="2254" y="383"/>
                </a:lnTo>
                <a:lnTo>
                  <a:pt x="2251" y="378"/>
                </a:lnTo>
                <a:lnTo>
                  <a:pt x="2243" y="372"/>
                </a:lnTo>
                <a:lnTo>
                  <a:pt x="2235" y="367"/>
                </a:lnTo>
                <a:lnTo>
                  <a:pt x="2241" y="349"/>
                </a:lnTo>
                <a:lnTo>
                  <a:pt x="2242" y="345"/>
                </a:lnTo>
                <a:lnTo>
                  <a:pt x="2252" y="349"/>
                </a:lnTo>
                <a:lnTo>
                  <a:pt x="2262" y="352"/>
                </a:lnTo>
                <a:lnTo>
                  <a:pt x="2280" y="340"/>
                </a:lnTo>
                <a:lnTo>
                  <a:pt x="2282" y="339"/>
                </a:lnTo>
                <a:lnTo>
                  <a:pt x="2276" y="339"/>
                </a:lnTo>
                <a:lnTo>
                  <a:pt x="2275" y="339"/>
                </a:lnTo>
                <a:lnTo>
                  <a:pt x="2264" y="331"/>
                </a:lnTo>
                <a:lnTo>
                  <a:pt x="2248" y="324"/>
                </a:lnTo>
                <a:close/>
                <a:moveTo>
                  <a:pt x="2341" y="490"/>
                </a:moveTo>
                <a:lnTo>
                  <a:pt x="2347" y="483"/>
                </a:lnTo>
                <a:lnTo>
                  <a:pt x="2354" y="474"/>
                </a:lnTo>
                <a:lnTo>
                  <a:pt x="2362" y="468"/>
                </a:lnTo>
                <a:lnTo>
                  <a:pt x="2372" y="462"/>
                </a:lnTo>
                <a:lnTo>
                  <a:pt x="2382" y="457"/>
                </a:lnTo>
                <a:lnTo>
                  <a:pt x="2393" y="455"/>
                </a:lnTo>
                <a:lnTo>
                  <a:pt x="2405" y="454"/>
                </a:lnTo>
                <a:lnTo>
                  <a:pt x="2418" y="455"/>
                </a:lnTo>
                <a:lnTo>
                  <a:pt x="2406" y="484"/>
                </a:lnTo>
                <a:lnTo>
                  <a:pt x="2400" y="499"/>
                </a:lnTo>
                <a:lnTo>
                  <a:pt x="2398" y="504"/>
                </a:lnTo>
                <a:lnTo>
                  <a:pt x="2398" y="505"/>
                </a:lnTo>
                <a:lnTo>
                  <a:pt x="2341" y="490"/>
                </a:lnTo>
                <a:close/>
                <a:moveTo>
                  <a:pt x="2320" y="384"/>
                </a:moveTo>
                <a:lnTo>
                  <a:pt x="2315" y="394"/>
                </a:lnTo>
                <a:lnTo>
                  <a:pt x="2310" y="402"/>
                </a:lnTo>
                <a:lnTo>
                  <a:pt x="2304" y="410"/>
                </a:lnTo>
                <a:lnTo>
                  <a:pt x="2298" y="417"/>
                </a:lnTo>
                <a:lnTo>
                  <a:pt x="2291" y="424"/>
                </a:lnTo>
                <a:lnTo>
                  <a:pt x="2284" y="430"/>
                </a:lnTo>
                <a:lnTo>
                  <a:pt x="2275" y="437"/>
                </a:lnTo>
                <a:lnTo>
                  <a:pt x="2267" y="441"/>
                </a:lnTo>
                <a:lnTo>
                  <a:pt x="2257" y="445"/>
                </a:lnTo>
                <a:lnTo>
                  <a:pt x="2248" y="449"/>
                </a:lnTo>
                <a:lnTo>
                  <a:pt x="2239" y="451"/>
                </a:lnTo>
                <a:lnTo>
                  <a:pt x="2228" y="454"/>
                </a:lnTo>
                <a:lnTo>
                  <a:pt x="2218" y="455"/>
                </a:lnTo>
                <a:lnTo>
                  <a:pt x="2207" y="456"/>
                </a:lnTo>
                <a:lnTo>
                  <a:pt x="2197" y="456"/>
                </a:lnTo>
                <a:lnTo>
                  <a:pt x="2186" y="455"/>
                </a:lnTo>
                <a:lnTo>
                  <a:pt x="2177" y="452"/>
                </a:lnTo>
                <a:lnTo>
                  <a:pt x="2167" y="449"/>
                </a:lnTo>
                <a:lnTo>
                  <a:pt x="2158" y="444"/>
                </a:lnTo>
                <a:lnTo>
                  <a:pt x="2150" y="440"/>
                </a:lnTo>
                <a:lnTo>
                  <a:pt x="2143" y="434"/>
                </a:lnTo>
                <a:lnTo>
                  <a:pt x="2137" y="429"/>
                </a:lnTo>
                <a:lnTo>
                  <a:pt x="2131" y="423"/>
                </a:lnTo>
                <a:lnTo>
                  <a:pt x="2126" y="416"/>
                </a:lnTo>
                <a:lnTo>
                  <a:pt x="2122" y="410"/>
                </a:lnTo>
                <a:lnTo>
                  <a:pt x="2120" y="402"/>
                </a:lnTo>
                <a:lnTo>
                  <a:pt x="2117" y="395"/>
                </a:lnTo>
                <a:lnTo>
                  <a:pt x="2116" y="388"/>
                </a:lnTo>
                <a:lnTo>
                  <a:pt x="2117" y="380"/>
                </a:lnTo>
                <a:lnTo>
                  <a:pt x="2118" y="372"/>
                </a:lnTo>
                <a:lnTo>
                  <a:pt x="2120" y="364"/>
                </a:lnTo>
                <a:lnTo>
                  <a:pt x="2123" y="356"/>
                </a:lnTo>
                <a:lnTo>
                  <a:pt x="2128" y="349"/>
                </a:lnTo>
                <a:lnTo>
                  <a:pt x="2133" y="341"/>
                </a:lnTo>
                <a:lnTo>
                  <a:pt x="2139" y="334"/>
                </a:lnTo>
                <a:lnTo>
                  <a:pt x="2145" y="327"/>
                </a:lnTo>
                <a:lnTo>
                  <a:pt x="2152" y="320"/>
                </a:lnTo>
                <a:lnTo>
                  <a:pt x="2160" y="314"/>
                </a:lnTo>
                <a:lnTo>
                  <a:pt x="2168" y="308"/>
                </a:lnTo>
                <a:lnTo>
                  <a:pt x="2177" y="303"/>
                </a:lnTo>
                <a:lnTo>
                  <a:pt x="2186" y="298"/>
                </a:lnTo>
                <a:lnTo>
                  <a:pt x="2195" y="296"/>
                </a:lnTo>
                <a:lnTo>
                  <a:pt x="2205" y="292"/>
                </a:lnTo>
                <a:lnTo>
                  <a:pt x="2216" y="291"/>
                </a:lnTo>
                <a:lnTo>
                  <a:pt x="2225" y="290"/>
                </a:lnTo>
                <a:lnTo>
                  <a:pt x="2236" y="290"/>
                </a:lnTo>
                <a:lnTo>
                  <a:pt x="2246" y="291"/>
                </a:lnTo>
                <a:lnTo>
                  <a:pt x="2257" y="292"/>
                </a:lnTo>
                <a:lnTo>
                  <a:pt x="2267" y="295"/>
                </a:lnTo>
                <a:lnTo>
                  <a:pt x="2276" y="297"/>
                </a:lnTo>
                <a:lnTo>
                  <a:pt x="2285" y="300"/>
                </a:lnTo>
                <a:lnTo>
                  <a:pt x="2293" y="305"/>
                </a:lnTo>
                <a:lnTo>
                  <a:pt x="2301" y="308"/>
                </a:lnTo>
                <a:lnTo>
                  <a:pt x="2307" y="313"/>
                </a:lnTo>
                <a:lnTo>
                  <a:pt x="2313" y="319"/>
                </a:lnTo>
                <a:lnTo>
                  <a:pt x="2318" y="325"/>
                </a:lnTo>
                <a:lnTo>
                  <a:pt x="2321" y="331"/>
                </a:lnTo>
                <a:lnTo>
                  <a:pt x="2324" y="339"/>
                </a:lnTo>
                <a:lnTo>
                  <a:pt x="2326" y="346"/>
                </a:lnTo>
                <a:lnTo>
                  <a:pt x="2327" y="353"/>
                </a:lnTo>
                <a:lnTo>
                  <a:pt x="2327" y="361"/>
                </a:lnTo>
                <a:lnTo>
                  <a:pt x="2326" y="368"/>
                </a:lnTo>
                <a:lnTo>
                  <a:pt x="2324" y="377"/>
                </a:lnTo>
                <a:lnTo>
                  <a:pt x="2320" y="384"/>
                </a:lnTo>
                <a:close/>
                <a:moveTo>
                  <a:pt x="2025" y="292"/>
                </a:moveTo>
                <a:lnTo>
                  <a:pt x="2037" y="264"/>
                </a:lnTo>
                <a:lnTo>
                  <a:pt x="2043" y="250"/>
                </a:lnTo>
                <a:lnTo>
                  <a:pt x="2046" y="243"/>
                </a:lnTo>
                <a:lnTo>
                  <a:pt x="2047" y="243"/>
                </a:lnTo>
                <a:lnTo>
                  <a:pt x="2078" y="247"/>
                </a:lnTo>
                <a:lnTo>
                  <a:pt x="2095" y="250"/>
                </a:lnTo>
                <a:lnTo>
                  <a:pt x="2101" y="251"/>
                </a:lnTo>
                <a:lnTo>
                  <a:pt x="2103" y="251"/>
                </a:lnTo>
                <a:lnTo>
                  <a:pt x="2097" y="261"/>
                </a:lnTo>
                <a:lnTo>
                  <a:pt x="2089" y="269"/>
                </a:lnTo>
                <a:lnTo>
                  <a:pt x="2081" y="276"/>
                </a:lnTo>
                <a:lnTo>
                  <a:pt x="2072" y="283"/>
                </a:lnTo>
                <a:lnTo>
                  <a:pt x="2061" y="286"/>
                </a:lnTo>
                <a:lnTo>
                  <a:pt x="2050" y="290"/>
                </a:lnTo>
                <a:lnTo>
                  <a:pt x="2038" y="292"/>
                </a:lnTo>
                <a:lnTo>
                  <a:pt x="2025" y="292"/>
                </a:lnTo>
                <a:close/>
                <a:moveTo>
                  <a:pt x="2025" y="441"/>
                </a:moveTo>
                <a:lnTo>
                  <a:pt x="1993" y="437"/>
                </a:lnTo>
                <a:lnTo>
                  <a:pt x="1976" y="435"/>
                </a:lnTo>
                <a:lnTo>
                  <a:pt x="1970" y="434"/>
                </a:lnTo>
                <a:lnTo>
                  <a:pt x="1969" y="434"/>
                </a:lnTo>
                <a:lnTo>
                  <a:pt x="1981" y="405"/>
                </a:lnTo>
                <a:lnTo>
                  <a:pt x="1987" y="390"/>
                </a:lnTo>
                <a:lnTo>
                  <a:pt x="1990" y="385"/>
                </a:lnTo>
                <a:lnTo>
                  <a:pt x="1990" y="384"/>
                </a:lnTo>
                <a:lnTo>
                  <a:pt x="1999" y="388"/>
                </a:lnTo>
                <a:lnTo>
                  <a:pt x="2008" y="393"/>
                </a:lnTo>
                <a:lnTo>
                  <a:pt x="2015" y="397"/>
                </a:lnTo>
                <a:lnTo>
                  <a:pt x="2021" y="405"/>
                </a:lnTo>
                <a:lnTo>
                  <a:pt x="2025" y="412"/>
                </a:lnTo>
                <a:lnTo>
                  <a:pt x="2026" y="421"/>
                </a:lnTo>
                <a:lnTo>
                  <a:pt x="2027" y="430"/>
                </a:lnTo>
                <a:lnTo>
                  <a:pt x="2025" y="441"/>
                </a:lnTo>
                <a:close/>
                <a:moveTo>
                  <a:pt x="2418" y="307"/>
                </a:moveTo>
                <a:lnTo>
                  <a:pt x="2451" y="311"/>
                </a:lnTo>
                <a:lnTo>
                  <a:pt x="2467" y="313"/>
                </a:lnTo>
                <a:lnTo>
                  <a:pt x="2473" y="314"/>
                </a:lnTo>
                <a:lnTo>
                  <a:pt x="2474" y="314"/>
                </a:lnTo>
                <a:lnTo>
                  <a:pt x="2462" y="342"/>
                </a:lnTo>
                <a:lnTo>
                  <a:pt x="2456" y="357"/>
                </a:lnTo>
                <a:lnTo>
                  <a:pt x="2453" y="362"/>
                </a:lnTo>
                <a:lnTo>
                  <a:pt x="2453" y="363"/>
                </a:lnTo>
                <a:lnTo>
                  <a:pt x="2444" y="360"/>
                </a:lnTo>
                <a:lnTo>
                  <a:pt x="2435" y="355"/>
                </a:lnTo>
                <a:lnTo>
                  <a:pt x="2428" y="347"/>
                </a:lnTo>
                <a:lnTo>
                  <a:pt x="2422" y="340"/>
                </a:lnTo>
                <a:lnTo>
                  <a:pt x="2418" y="333"/>
                </a:lnTo>
                <a:lnTo>
                  <a:pt x="2417" y="324"/>
                </a:lnTo>
                <a:lnTo>
                  <a:pt x="2416" y="316"/>
                </a:lnTo>
                <a:lnTo>
                  <a:pt x="2418" y="307"/>
                </a:lnTo>
                <a:close/>
                <a:moveTo>
                  <a:pt x="2509" y="300"/>
                </a:moveTo>
                <a:lnTo>
                  <a:pt x="2352" y="274"/>
                </a:lnTo>
                <a:lnTo>
                  <a:pt x="2234" y="254"/>
                </a:lnTo>
                <a:lnTo>
                  <a:pt x="2149" y="241"/>
                </a:lnTo>
                <a:lnTo>
                  <a:pt x="2092" y="231"/>
                </a:lnTo>
                <a:lnTo>
                  <a:pt x="2058" y="226"/>
                </a:lnTo>
                <a:lnTo>
                  <a:pt x="2040" y="223"/>
                </a:lnTo>
                <a:lnTo>
                  <a:pt x="2033" y="223"/>
                </a:lnTo>
                <a:lnTo>
                  <a:pt x="2032" y="223"/>
                </a:lnTo>
                <a:lnTo>
                  <a:pt x="1999" y="297"/>
                </a:lnTo>
                <a:lnTo>
                  <a:pt x="1975" y="352"/>
                </a:lnTo>
                <a:lnTo>
                  <a:pt x="1958" y="393"/>
                </a:lnTo>
                <a:lnTo>
                  <a:pt x="1946" y="419"/>
                </a:lnTo>
                <a:lnTo>
                  <a:pt x="1939" y="437"/>
                </a:lnTo>
                <a:lnTo>
                  <a:pt x="1935" y="444"/>
                </a:lnTo>
                <a:lnTo>
                  <a:pt x="1934" y="448"/>
                </a:lnTo>
                <a:lnTo>
                  <a:pt x="1934" y="448"/>
                </a:lnTo>
                <a:lnTo>
                  <a:pt x="2092" y="473"/>
                </a:lnTo>
                <a:lnTo>
                  <a:pt x="2209" y="493"/>
                </a:lnTo>
                <a:lnTo>
                  <a:pt x="2294" y="506"/>
                </a:lnTo>
                <a:lnTo>
                  <a:pt x="2352" y="516"/>
                </a:lnTo>
                <a:lnTo>
                  <a:pt x="2386" y="522"/>
                </a:lnTo>
                <a:lnTo>
                  <a:pt x="2404" y="525"/>
                </a:lnTo>
                <a:lnTo>
                  <a:pt x="2410" y="526"/>
                </a:lnTo>
                <a:lnTo>
                  <a:pt x="2411" y="526"/>
                </a:lnTo>
                <a:lnTo>
                  <a:pt x="2509" y="300"/>
                </a:lnTo>
                <a:close/>
                <a:moveTo>
                  <a:pt x="2376" y="710"/>
                </a:moveTo>
                <a:lnTo>
                  <a:pt x="2369" y="703"/>
                </a:lnTo>
                <a:lnTo>
                  <a:pt x="2369" y="696"/>
                </a:lnTo>
                <a:lnTo>
                  <a:pt x="2376" y="688"/>
                </a:lnTo>
                <a:lnTo>
                  <a:pt x="2382" y="688"/>
                </a:lnTo>
                <a:lnTo>
                  <a:pt x="2376" y="710"/>
                </a:lnTo>
                <a:close/>
                <a:moveTo>
                  <a:pt x="2382" y="752"/>
                </a:moveTo>
                <a:lnTo>
                  <a:pt x="2382" y="757"/>
                </a:lnTo>
                <a:lnTo>
                  <a:pt x="2381" y="758"/>
                </a:lnTo>
                <a:lnTo>
                  <a:pt x="2377" y="759"/>
                </a:lnTo>
                <a:lnTo>
                  <a:pt x="2369" y="759"/>
                </a:lnTo>
                <a:lnTo>
                  <a:pt x="2375" y="741"/>
                </a:lnTo>
                <a:lnTo>
                  <a:pt x="2376" y="739"/>
                </a:lnTo>
                <a:lnTo>
                  <a:pt x="2382" y="745"/>
                </a:lnTo>
                <a:lnTo>
                  <a:pt x="2382" y="746"/>
                </a:lnTo>
                <a:lnTo>
                  <a:pt x="2382" y="752"/>
                </a:lnTo>
                <a:lnTo>
                  <a:pt x="2382" y="752"/>
                </a:lnTo>
                <a:close/>
                <a:moveTo>
                  <a:pt x="2403" y="681"/>
                </a:moveTo>
                <a:lnTo>
                  <a:pt x="2407" y="669"/>
                </a:lnTo>
                <a:lnTo>
                  <a:pt x="2409" y="668"/>
                </a:lnTo>
                <a:lnTo>
                  <a:pt x="2398" y="662"/>
                </a:lnTo>
                <a:lnTo>
                  <a:pt x="2395" y="660"/>
                </a:lnTo>
                <a:lnTo>
                  <a:pt x="2389" y="673"/>
                </a:lnTo>
                <a:lnTo>
                  <a:pt x="2389" y="675"/>
                </a:lnTo>
                <a:lnTo>
                  <a:pt x="2384" y="670"/>
                </a:lnTo>
                <a:lnTo>
                  <a:pt x="2379" y="669"/>
                </a:lnTo>
                <a:lnTo>
                  <a:pt x="2373" y="670"/>
                </a:lnTo>
                <a:lnTo>
                  <a:pt x="2369" y="675"/>
                </a:lnTo>
                <a:lnTo>
                  <a:pt x="2364" y="676"/>
                </a:lnTo>
                <a:lnTo>
                  <a:pt x="2359" y="679"/>
                </a:lnTo>
                <a:lnTo>
                  <a:pt x="2354" y="684"/>
                </a:lnTo>
                <a:lnTo>
                  <a:pt x="2349" y="688"/>
                </a:lnTo>
                <a:lnTo>
                  <a:pt x="2349" y="699"/>
                </a:lnTo>
                <a:lnTo>
                  <a:pt x="2349" y="710"/>
                </a:lnTo>
                <a:lnTo>
                  <a:pt x="2353" y="714"/>
                </a:lnTo>
                <a:lnTo>
                  <a:pt x="2362" y="724"/>
                </a:lnTo>
                <a:lnTo>
                  <a:pt x="2369" y="730"/>
                </a:lnTo>
                <a:lnTo>
                  <a:pt x="2369" y="731"/>
                </a:lnTo>
                <a:lnTo>
                  <a:pt x="2358" y="750"/>
                </a:lnTo>
                <a:lnTo>
                  <a:pt x="2356" y="752"/>
                </a:lnTo>
                <a:lnTo>
                  <a:pt x="2352" y="752"/>
                </a:lnTo>
                <a:lnTo>
                  <a:pt x="2343" y="746"/>
                </a:lnTo>
                <a:lnTo>
                  <a:pt x="2336" y="739"/>
                </a:lnTo>
                <a:lnTo>
                  <a:pt x="2330" y="732"/>
                </a:lnTo>
                <a:lnTo>
                  <a:pt x="2330" y="731"/>
                </a:lnTo>
                <a:lnTo>
                  <a:pt x="2324" y="750"/>
                </a:lnTo>
                <a:lnTo>
                  <a:pt x="2322" y="752"/>
                </a:lnTo>
                <a:lnTo>
                  <a:pt x="2327" y="758"/>
                </a:lnTo>
                <a:lnTo>
                  <a:pt x="2333" y="763"/>
                </a:lnTo>
                <a:lnTo>
                  <a:pt x="2341" y="768"/>
                </a:lnTo>
                <a:lnTo>
                  <a:pt x="2349" y="774"/>
                </a:lnTo>
                <a:lnTo>
                  <a:pt x="2343" y="786"/>
                </a:lnTo>
                <a:lnTo>
                  <a:pt x="2343" y="787"/>
                </a:lnTo>
                <a:lnTo>
                  <a:pt x="2354" y="794"/>
                </a:lnTo>
                <a:lnTo>
                  <a:pt x="2356" y="795"/>
                </a:lnTo>
                <a:lnTo>
                  <a:pt x="2361" y="783"/>
                </a:lnTo>
                <a:lnTo>
                  <a:pt x="2362" y="781"/>
                </a:lnTo>
                <a:lnTo>
                  <a:pt x="2376" y="781"/>
                </a:lnTo>
                <a:lnTo>
                  <a:pt x="2389" y="781"/>
                </a:lnTo>
                <a:lnTo>
                  <a:pt x="2394" y="776"/>
                </a:lnTo>
                <a:lnTo>
                  <a:pt x="2398" y="774"/>
                </a:lnTo>
                <a:lnTo>
                  <a:pt x="2401" y="770"/>
                </a:lnTo>
                <a:lnTo>
                  <a:pt x="2403" y="767"/>
                </a:lnTo>
                <a:lnTo>
                  <a:pt x="2403" y="756"/>
                </a:lnTo>
                <a:lnTo>
                  <a:pt x="2403" y="746"/>
                </a:lnTo>
                <a:lnTo>
                  <a:pt x="2401" y="740"/>
                </a:lnTo>
                <a:lnTo>
                  <a:pt x="2398" y="735"/>
                </a:lnTo>
                <a:lnTo>
                  <a:pt x="2394" y="730"/>
                </a:lnTo>
                <a:lnTo>
                  <a:pt x="2389" y="724"/>
                </a:lnTo>
                <a:lnTo>
                  <a:pt x="2389" y="718"/>
                </a:lnTo>
                <a:lnTo>
                  <a:pt x="2389" y="717"/>
                </a:lnTo>
                <a:lnTo>
                  <a:pt x="2394" y="698"/>
                </a:lnTo>
                <a:lnTo>
                  <a:pt x="2395" y="696"/>
                </a:lnTo>
                <a:lnTo>
                  <a:pt x="2405" y="703"/>
                </a:lnTo>
                <a:lnTo>
                  <a:pt x="2416" y="710"/>
                </a:lnTo>
                <a:lnTo>
                  <a:pt x="2427" y="697"/>
                </a:lnTo>
                <a:lnTo>
                  <a:pt x="2428" y="696"/>
                </a:lnTo>
                <a:lnTo>
                  <a:pt x="2422" y="691"/>
                </a:lnTo>
                <a:lnTo>
                  <a:pt x="2415" y="686"/>
                </a:lnTo>
                <a:lnTo>
                  <a:pt x="2409" y="682"/>
                </a:lnTo>
                <a:lnTo>
                  <a:pt x="2403" y="681"/>
                </a:lnTo>
                <a:close/>
                <a:moveTo>
                  <a:pt x="2337" y="806"/>
                </a:moveTo>
                <a:lnTo>
                  <a:pt x="2328" y="802"/>
                </a:lnTo>
                <a:lnTo>
                  <a:pt x="2320" y="798"/>
                </a:lnTo>
                <a:lnTo>
                  <a:pt x="2313" y="794"/>
                </a:lnTo>
                <a:lnTo>
                  <a:pt x="2307" y="787"/>
                </a:lnTo>
                <a:lnTo>
                  <a:pt x="2301" y="781"/>
                </a:lnTo>
                <a:lnTo>
                  <a:pt x="2296" y="774"/>
                </a:lnTo>
                <a:lnTo>
                  <a:pt x="2291" y="767"/>
                </a:lnTo>
                <a:lnTo>
                  <a:pt x="2287" y="759"/>
                </a:lnTo>
                <a:lnTo>
                  <a:pt x="2285" y="751"/>
                </a:lnTo>
                <a:lnTo>
                  <a:pt x="2282" y="741"/>
                </a:lnTo>
                <a:lnTo>
                  <a:pt x="2281" y="732"/>
                </a:lnTo>
                <a:lnTo>
                  <a:pt x="2281" y="723"/>
                </a:lnTo>
                <a:lnTo>
                  <a:pt x="2281" y="714"/>
                </a:lnTo>
                <a:lnTo>
                  <a:pt x="2282" y="704"/>
                </a:lnTo>
                <a:lnTo>
                  <a:pt x="2286" y="695"/>
                </a:lnTo>
                <a:lnTo>
                  <a:pt x="2288" y="685"/>
                </a:lnTo>
                <a:lnTo>
                  <a:pt x="2293" y="677"/>
                </a:lnTo>
                <a:lnTo>
                  <a:pt x="2298" y="670"/>
                </a:lnTo>
                <a:lnTo>
                  <a:pt x="2304" y="664"/>
                </a:lnTo>
                <a:lnTo>
                  <a:pt x="2310" y="658"/>
                </a:lnTo>
                <a:lnTo>
                  <a:pt x="2318" y="652"/>
                </a:lnTo>
                <a:lnTo>
                  <a:pt x="2325" y="647"/>
                </a:lnTo>
                <a:lnTo>
                  <a:pt x="2332" y="643"/>
                </a:lnTo>
                <a:lnTo>
                  <a:pt x="2341" y="640"/>
                </a:lnTo>
                <a:lnTo>
                  <a:pt x="2348" y="636"/>
                </a:lnTo>
                <a:lnTo>
                  <a:pt x="2356" y="633"/>
                </a:lnTo>
                <a:lnTo>
                  <a:pt x="2365" y="632"/>
                </a:lnTo>
                <a:lnTo>
                  <a:pt x="2373" y="631"/>
                </a:lnTo>
                <a:lnTo>
                  <a:pt x="2382" y="631"/>
                </a:lnTo>
                <a:lnTo>
                  <a:pt x="2390" y="632"/>
                </a:lnTo>
                <a:lnTo>
                  <a:pt x="2399" y="633"/>
                </a:lnTo>
                <a:lnTo>
                  <a:pt x="2407" y="636"/>
                </a:lnTo>
                <a:lnTo>
                  <a:pt x="2420" y="642"/>
                </a:lnTo>
                <a:lnTo>
                  <a:pt x="2429" y="649"/>
                </a:lnTo>
                <a:lnTo>
                  <a:pt x="2438" y="658"/>
                </a:lnTo>
                <a:lnTo>
                  <a:pt x="2445" y="666"/>
                </a:lnTo>
                <a:lnTo>
                  <a:pt x="2451" y="677"/>
                </a:lnTo>
                <a:lnTo>
                  <a:pt x="2456" y="688"/>
                </a:lnTo>
                <a:lnTo>
                  <a:pt x="2460" y="701"/>
                </a:lnTo>
                <a:lnTo>
                  <a:pt x="2462" y="714"/>
                </a:lnTo>
                <a:lnTo>
                  <a:pt x="2450" y="754"/>
                </a:lnTo>
                <a:lnTo>
                  <a:pt x="2444" y="775"/>
                </a:lnTo>
                <a:lnTo>
                  <a:pt x="2441" y="784"/>
                </a:lnTo>
                <a:lnTo>
                  <a:pt x="2441" y="785"/>
                </a:lnTo>
                <a:lnTo>
                  <a:pt x="2430" y="795"/>
                </a:lnTo>
                <a:lnTo>
                  <a:pt x="2418" y="803"/>
                </a:lnTo>
                <a:lnTo>
                  <a:pt x="2406" y="809"/>
                </a:lnTo>
                <a:lnTo>
                  <a:pt x="2392" y="813"/>
                </a:lnTo>
                <a:lnTo>
                  <a:pt x="2386" y="816"/>
                </a:lnTo>
                <a:lnTo>
                  <a:pt x="2378" y="816"/>
                </a:lnTo>
                <a:lnTo>
                  <a:pt x="2371" y="816"/>
                </a:lnTo>
                <a:lnTo>
                  <a:pt x="2365" y="816"/>
                </a:lnTo>
                <a:lnTo>
                  <a:pt x="2358" y="814"/>
                </a:lnTo>
                <a:lnTo>
                  <a:pt x="2350" y="812"/>
                </a:lnTo>
                <a:lnTo>
                  <a:pt x="2344" y="809"/>
                </a:lnTo>
                <a:lnTo>
                  <a:pt x="2337" y="806"/>
                </a:lnTo>
                <a:close/>
                <a:moveTo>
                  <a:pt x="2206" y="593"/>
                </a:moveTo>
                <a:lnTo>
                  <a:pt x="2222" y="565"/>
                </a:lnTo>
                <a:lnTo>
                  <a:pt x="2230" y="550"/>
                </a:lnTo>
                <a:lnTo>
                  <a:pt x="2233" y="544"/>
                </a:lnTo>
                <a:lnTo>
                  <a:pt x="2234" y="544"/>
                </a:lnTo>
                <a:lnTo>
                  <a:pt x="2262" y="556"/>
                </a:lnTo>
                <a:lnTo>
                  <a:pt x="2276" y="563"/>
                </a:lnTo>
                <a:lnTo>
                  <a:pt x="2281" y="565"/>
                </a:lnTo>
                <a:lnTo>
                  <a:pt x="2282" y="565"/>
                </a:lnTo>
                <a:lnTo>
                  <a:pt x="2276" y="575"/>
                </a:lnTo>
                <a:lnTo>
                  <a:pt x="2269" y="582"/>
                </a:lnTo>
                <a:lnTo>
                  <a:pt x="2260" y="588"/>
                </a:lnTo>
                <a:lnTo>
                  <a:pt x="2252" y="592"/>
                </a:lnTo>
                <a:lnTo>
                  <a:pt x="2241" y="594"/>
                </a:lnTo>
                <a:lnTo>
                  <a:pt x="2230" y="596"/>
                </a:lnTo>
                <a:lnTo>
                  <a:pt x="2218" y="596"/>
                </a:lnTo>
                <a:lnTo>
                  <a:pt x="2206" y="593"/>
                </a:lnTo>
                <a:close/>
                <a:moveTo>
                  <a:pt x="2199" y="763"/>
                </a:moveTo>
                <a:lnTo>
                  <a:pt x="2166" y="751"/>
                </a:lnTo>
                <a:lnTo>
                  <a:pt x="2150" y="745"/>
                </a:lnTo>
                <a:lnTo>
                  <a:pt x="2144" y="742"/>
                </a:lnTo>
                <a:lnTo>
                  <a:pt x="2143" y="742"/>
                </a:lnTo>
                <a:lnTo>
                  <a:pt x="2158" y="709"/>
                </a:lnTo>
                <a:lnTo>
                  <a:pt x="2167" y="692"/>
                </a:lnTo>
                <a:lnTo>
                  <a:pt x="2171" y="686"/>
                </a:lnTo>
                <a:lnTo>
                  <a:pt x="2171" y="685"/>
                </a:lnTo>
                <a:lnTo>
                  <a:pt x="2178" y="693"/>
                </a:lnTo>
                <a:lnTo>
                  <a:pt x="2185" y="702"/>
                </a:lnTo>
                <a:lnTo>
                  <a:pt x="2190" y="712"/>
                </a:lnTo>
                <a:lnTo>
                  <a:pt x="2195" y="721"/>
                </a:lnTo>
                <a:lnTo>
                  <a:pt x="2199" y="731"/>
                </a:lnTo>
                <a:lnTo>
                  <a:pt x="2200" y="742"/>
                </a:lnTo>
                <a:lnTo>
                  <a:pt x="2200" y="752"/>
                </a:lnTo>
                <a:lnTo>
                  <a:pt x="2199" y="763"/>
                </a:lnTo>
                <a:close/>
                <a:moveTo>
                  <a:pt x="2219" y="515"/>
                </a:moveTo>
                <a:lnTo>
                  <a:pt x="2185" y="593"/>
                </a:lnTo>
                <a:lnTo>
                  <a:pt x="2158" y="651"/>
                </a:lnTo>
                <a:lnTo>
                  <a:pt x="2140" y="692"/>
                </a:lnTo>
                <a:lnTo>
                  <a:pt x="2128" y="720"/>
                </a:lnTo>
                <a:lnTo>
                  <a:pt x="2121" y="737"/>
                </a:lnTo>
                <a:lnTo>
                  <a:pt x="2117" y="746"/>
                </a:lnTo>
                <a:lnTo>
                  <a:pt x="2115" y="748"/>
                </a:lnTo>
                <a:lnTo>
                  <a:pt x="2115" y="750"/>
                </a:lnTo>
                <a:lnTo>
                  <a:pt x="2213" y="794"/>
                </a:lnTo>
                <a:lnTo>
                  <a:pt x="2288" y="827"/>
                </a:lnTo>
                <a:lnTo>
                  <a:pt x="2341" y="851"/>
                </a:lnTo>
                <a:lnTo>
                  <a:pt x="2377" y="867"/>
                </a:lnTo>
                <a:lnTo>
                  <a:pt x="2398" y="877"/>
                </a:lnTo>
                <a:lnTo>
                  <a:pt x="2409" y="882"/>
                </a:lnTo>
                <a:lnTo>
                  <a:pt x="2413" y="883"/>
                </a:lnTo>
                <a:lnTo>
                  <a:pt x="2413" y="884"/>
                </a:lnTo>
                <a:lnTo>
                  <a:pt x="2384" y="979"/>
                </a:lnTo>
                <a:lnTo>
                  <a:pt x="2361" y="1052"/>
                </a:lnTo>
                <a:lnTo>
                  <a:pt x="2345" y="1103"/>
                </a:lnTo>
                <a:lnTo>
                  <a:pt x="2335" y="1137"/>
                </a:lnTo>
                <a:lnTo>
                  <a:pt x="2328" y="1159"/>
                </a:lnTo>
                <a:lnTo>
                  <a:pt x="2325" y="1169"/>
                </a:lnTo>
                <a:lnTo>
                  <a:pt x="2324" y="1174"/>
                </a:lnTo>
                <a:lnTo>
                  <a:pt x="2324" y="1174"/>
                </a:lnTo>
                <a:lnTo>
                  <a:pt x="2092" y="1174"/>
                </a:lnTo>
                <a:lnTo>
                  <a:pt x="1918" y="1174"/>
                </a:lnTo>
                <a:lnTo>
                  <a:pt x="1793" y="1174"/>
                </a:lnTo>
                <a:lnTo>
                  <a:pt x="1709" y="1174"/>
                </a:lnTo>
                <a:lnTo>
                  <a:pt x="1660" y="1174"/>
                </a:lnTo>
                <a:lnTo>
                  <a:pt x="1633" y="1174"/>
                </a:lnTo>
                <a:lnTo>
                  <a:pt x="1623" y="1174"/>
                </a:lnTo>
                <a:lnTo>
                  <a:pt x="1622" y="1174"/>
                </a:lnTo>
                <a:lnTo>
                  <a:pt x="1612" y="1175"/>
                </a:lnTo>
                <a:lnTo>
                  <a:pt x="1602" y="1179"/>
                </a:lnTo>
                <a:lnTo>
                  <a:pt x="1594" y="1184"/>
                </a:lnTo>
                <a:lnTo>
                  <a:pt x="1587" y="1191"/>
                </a:lnTo>
                <a:lnTo>
                  <a:pt x="1582" y="1198"/>
                </a:lnTo>
                <a:lnTo>
                  <a:pt x="1577" y="1207"/>
                </a:lnTo>
                <a:lnTo>
                  <a:pt x="1575" y="1215"/>
                </a:lnTo>
                <a:lnTo>
                  <a:pt x="1573" y="1224"/>
                </a:lnTo>
                <a:lnTo>
                  <a:pt x="1575" y="1234"/>
                </a:lnTo>
                <a:lnTo>
                  <a:pt x="1577" y="1245"/>
                </a:lnTo>
                <a:lnTo>
                  <a:pt x="1582" y="1254"/>
                </a:lnTo>
                <a:lnTo>
                  <a:pt x="1587" y="1263"/>
                </a:lnTo>
                <a:lnTo>
                  <a:pt x="1594" y="1270"/>
                </a:lnTo>
                <a:lnTo>
                  <a:pt x="1602" y="1275"/>
                </a:lnTo>
                <a:lnTo>
                  <a:pt x="1607" y="1278"/>
                </a:lnTo>
                <a:lnTo>
                  <a:pt x="1612" y="1279"/>
                </a:lnTo>
                <a:lnTo>
                  <a:pt x="1617" y="1280"/>
                </a:lnTo>
                <a:lnTo>
                  <a:pt x="1622" y="1280"/>
                </a:lnTo>
                <a:lnTo>
                  <a:pt x="1865" y="1280"/>
                </a:lnTo>
                <a:lnTo>
                  <a:pt x="2048" y="1280"/>
                </a:lnTo>
                <a:lnTo>
                  <a:pt x="2178" y="1280"/>
                </a:lnTo>
                <a:lnTo>
                  <a:pt x="2267" y="1280"/>
                </a:lnTo>
                <a:lnTo>
                  <a:pt x="2320" y="1280"/>
                </a:lnTo>
                <a:lnTo>
                  <a:pt x="2347" y="1280"/>
                </a:lnTo>
                <a:lnTo>
                  <a:pt x="2356" y="1280"/>
                </a:lnTo>
                <a:lnTo>
                  <a:pt x="2359" y="1280"/>
                </a:lnTo>
                <a:lnTo>
                  <a:pt x="2366" y="1280"/>
                </a:lnTo>
                <a:lnTo>
                  <a:pt x="2373" y="1278"/>
                </a:lnTo>
                <a:lnTo>
                  <a:pt x="2381" y="1275"/>
                </a:lnTo>
                <a:lnTo>
                  <a:pt x="2388" y="1270"/>
                </a:lnTo>
                <a:lnTo>
                  <a:pt x="2394" y="1265"/>
                </a:lnTo>
                <a:lnTo>
                  <a:pt x="2399" y="1259"/>
                </a:lnTo>
                <a:lnTo>
                  <a:pt x="2404" y="1252"/>
                </a:lnTo>
                <a:lnTo>
                  <a:pt x="2407" y="1245"/>
                </a:lnTo>
                <a:lnTo>
                  <a:pt x="2483" y="995"/>
                </a:lnTo>
                <a:lnTo>
                  <a:pt x="2540" y="807"/>
                </a:lnTo>
                <a:lnTo>
                  <a:pt x="2580" y="673"/>
                </a:lnTo>
                <a:lnTo>
                  <a:pt x="2608" y="582"/>
                </a:lnTo>
                <a:lnTo>
                  <a:pt x="2623" y="527"/>
                </a:lnTo>
                <a:lnTo>
                  <a:pt x="2632" y="499"/>
                </a:lnTo>
                <a:lnTo>
                  <a:pt x="2636" y="488"/>
                </a:lnTo>
                <a:lnTo>
                  <a:pt x="2636" y="487"/>
                </a:lnTo>
                <a:lnTo>
                  <a:pt x="2638" y="477"/>
                </a:lnTo>
                <a:lnTo>
                  <a:pt x="2638" y="467"/>
                </a:lnTo>
                <a:lnTo>
                  <a:pt x="2636" y="459"/>
                </a:lnTo>
                <a:lnTo>
                  <a:pt x="2632" y="450"/>
                </a:lnTo>
                <a:lnTo>
                  <a:pt x="2626" y="443"/>
                </a:lnTo>
                <a:lnTo>
                  <a:pt x="2620" y="435"/>
                </a:lnTo>
                <a:lnTo>
                  <a:pt x="2611" y="429"/>
                </a:lnTo>
                <a:lnTo>
                  <a:pt x="2602" y="423"/>
                </a:lnTo>
                <a:lnTo>
                  <a:pt x="2591" y="422"/>
                </a:lnTo>
                <a:lnTo>
                  <a:pt x="2581" y="422"/>
                </a:lnTo>
                <a:lnTo>
                  <a:pt x="2571" y="424"/>
                </a:lnTo>
                <a:lnTo>
                  <a:pt x="2563" y="428"/>
                </a:lnTo>
                <a:lnTo>
                  <a:pt x="2554" y="433"/>
                </a:lnTo>
                <a:lnTo>
                  <a:pt x="2548" y="440"/>
                </a:lnTo>
                <a:lnTo>
                  <a:pt x="2542" y="449"/>
                </a:lnTo>
                <a:lnTo>
                  <a:pt x="2538" y="459"/>
                </a:lnTo>
                <a:lnTo>
                  <a:pt x="2507" y="561"/>
                </a:lnTo>
                <a:lnTo>
                  <a:pt x="2490" y="614"/>
                </a:lnTo>
                <a:lnTo>
                  <a:pt x="2484" y="633"/>
                </a:lnTo>
                <a:lnTo>
                  <a:pt x="2484" y="636"/>
                </a:lnTo>
                <a:lnTo>
                  <a:pt x="2219" y="515"/>
                </a:lnTo>
                <a:close/>
                <a:moveTo>
                  <a:pt x="2613" y="1314"/>
                </a:moveTo>
                <a:lnTo>
                  <a:pt x="2381" y="1314"/>
                </a:lnTo>
                <a:lnTo>
                  <a:pt x="2178" y="1314"/>
                </a:lnTo>
                <a:lnTo>
                  <a:pt x="2003" y="1314"/>
                </a:lnTo>
                <a:lnTo>
                  <a:pt x="1851" y="1314"/>
                </a:lnTo>
                <a:lnTo>
                  <a:pt x="1724" y="1314"/>
                </a:lnTo>
                <a:lnTo>
                  <a:pt x="1618" y="1314"/>
                </a:lnTo>
                <a:lnTo>
                  <a:pt x="1531" y="1314"/>
                </a:lnTo>
                <a:lnTo>
                  <a:pt x="1462" y="1314"/>
                </a:lnTo>
                <a:lnTo>
                  <a:pt x="1407" y="1314"/>
                </a:lnTo>
                <a:lnTo>
                  <a:pt x="1366" y="1314"/>
                </a:lnTo>
                <a:lnTo>
                  <a:pt x="1337" y="1314"/>
                </a:lnTo>
                <a:lnTo>
                  <a:pt x="1317" y="1314"/>
                </a:lnTo>
                <a:lnTo>
                  <a:pt x="1305" y="1314"/>
                </a:lnTo>
                <a:lnTo>
                  <a:pt x="1299" y="1314"/>
                </a:lnTo>
                <a:lnTo>
                  <a:pt x="1297" y="1314"/>
                </a:lnTo>
                <a:lnTo>
                  <a:pt x="1297" y="1314"/>
                </a:lnTo>
                <a:lnTo>
                  <a:pt x="1286" y="1316"/>
                </a:lnTo>
                <a:lnTo>
                  <a:pt x="1273" y="1317"/>
                </a:lnTo>
                <a:lnTo>
                  <a:pt x="1263" y="1319"/>
                </a:lnTo>
                <a:lnTo>
                  <a:pt x="1252" y="1323"/>
                </a:lnTo>
                <a:lnTo>
                  <a:pt x="1242" y="1328"/>
                </a:lnTo>
                <a:lnTo>
                  <a:pt x="1232" y="1334"/>
                </a:lnTo>
                <a:lnTo>
                  <a:pt x="1222" y="1340"/>
                </a:lnTo>
                <a:lnTo>
                  <a:pt x="1214" y="1347"/>
                </a:lnTo>
                <a:lnTo>
                  <a:pt x="1207" y="1356"/>
                </a:lnTo>
                <a:lnTo>
                  <a:pt x="1199" y="1365"/>
                </a:lnTo>
                <a:lnTo>
                  <a:pt x="1193" y="1373"/>
                </a:lnTo>
                <a:lnTo>
                  <a:pt x="1189" y="1383"/>
                </a:lnTo>
                <a:lnTo>
                  <a:pt x="1184" y="1394"/>
                </a:lnTo>
                <a:lnTo>
                  <a:pt x="1181" y="1405"/>
                </a:lnTo>
                <a:lnTo>
                  <a:pt x="1179" y="1416"/>
                </a:lnTo>
                <a:lnTo>
                  <a:pt x="1179" y="1428"/>
                </a:lnTo>
                <a:lnTo>
                  <a:pt x="1179" y="1440"/>
                </a:lnTo>
                <a:lnTo>
                  <a:pt x="1181" y="1451"/>
                </a:lnTo>
                <a:lnTo>
                  <a:pt x="1184" y="1462"/>
                </a:lnTo>
                <a:lnTo>
                  <a:pt x="1189" y="1472"/>
                </a:lnTo>
                <a:lnTo>
                  <a:pt x="1193" y="1482"/>
                </a:lnTo>
                <a:lnTo>
                  <a:pt x="1199" y="1492"/>
                </a:lnTo>
                <a:lnTo>
                  <a:pt x="1207" y="1500"/>
                </a:lnTo>
                <a:lnTo>
                  <a:pt x="1214" y="1509"/>
                </a:lnTo>
                <a:lnTo>
                  <a:pt x="1222" y="1516"/>
                </a:lnTo>
                <a:lnTo>
                  <a:pt x="1232" y="1522"/>
                </a:lnTo>
                <a:lnTo>
                  <a:pt x="1242" y="1528"/>
                </a:lnTo>
                <a:lnTo>
                  <a:pt x="1252" y="1532"/>
                </a:lnTo>
                <a:lnTo>
                  <a:pt x="1263" y="1536"/>
                </a:lnTo>
                <a:lnTo>
                  <a:pt x="1273" y="1539"/>
                </a:lnTo>
                <a:lnTo>
                  <a:pt x="1286" y="1541"/>
                </a:lnTo>
                <a:lnTo>
                  <a:pt x="1297" y="1542"/>
                </a:lnTo>
                <a:lnTo>
                  <a:pt x="1385" y="1542"/>
                </a:lnTo>
                <a:lnTo>
                  <a:pt x="1431" y="1542"/>
                </a:lnTo>
                <a:lnTo>
                  <a:pt x="1447" y="1542"/>
                </a:lnTo>
                <a:lnTo>
                  <a:pt x="1450" y="1542"/>
                </a:lnTo>
                <a:lnTo>
                  <a:pt x="1450" y="1722"/>
                </a:lnTo>
                <a:lnTo>
                  <a:pt x="1450" y="1880"/>
                </a:lnTo>
                <a:lnTo>
                  <a:pt x="1450" y="2017"/>
                </a:lnTo>
                <a:lnTo>
                  <a:pt x="1450" y="2135"/>
                </a:lnTo>
                <a:lnTo>
                  <a:pt x="1450" y="2234"/>
                </a:lnTo>
                <a:lnTo>
                  <a:pt x="1450" y="2317"/>
                </a:lnTo>
                <a:lnTo>
                  <a:pt x="1450" y="2384"/>
                </a:lnTo>
                <a:lnTo>
                  <a:pt x="1450" y="2439"/>
                </a:lnTo>
                <a:lnTo>
                  <a:pt x="1450" y="2481"/>
                </a:lnTo>
                <a:lnTo>
                  <a:pt x="1450" y="2513"/>
                </a:lnTo>
                <a:lnTo>
                  <a:pt x="1450" y="2536"/>
                </a:lnTo>
                <a:lnTo>
                  <a:pt x="1450" y="2552"/>
                </a:lnTo>
                <a:lnTo>
                  <a:pt x="1450" y="2560"/>
                </a:lnTo>
                <a:lnTo>
                  <a:pt x="1450" y="2565"/>
                </a:lnTo>
                <a:lnTo>
                  <a:pt x="1450" y="2568"/>
                </a:lnTo>
                <a:lnTo>
                  <a:pt x="1450" y="2568"/>
                </a:lnTo>
                <a:lnTo>
                  <a:pt x="1627" y="2568"/>
                </a:lnTo>
                <a:lnTo>
                  <a:pt x="1781" y="2568"/>
                </a:lnTo>
                <a:lnTo>
                  <a:pt x="1914" y="2568"/>
                </a:lnTo>
                <a:lnTo>
                  <a:pt x="2030" y="2568"/>
                </a:lnTo>
                <a:lnTo>
                  <a:pt x="2127" y="2568"/>
                </a:lnTo>
                <a:lnTo>
                  <a:pt x="2208" y="2568"/>
                </a:lnTo>
                <a:lnTo>
                  <a:pt x="2274" y="2568"/>
                </a:lnTo>
                <a:lnTo>
                  <a:pt x="2327" y="2568"/>
                </a:lnTo>
                <a:lnTo>
                  <a:pt x="2369" y="2568"/>
                </a:lnTo>
                <a:lnTo>
                  <a:pt x="2400" y="2568"/>
                </a:lnTo>
                <a:lnTo>
                  <a:pt x="2422" y="2568"/>
                </a:lnTo>
                <a:lnTo>
                  <a:pt x="2436" y="2568"/>
                </a:lnTo>
                <a:lnTo>
                  <a:pt x="2446" y="2568"/>
                </a:lnTo>
                <a:lnTo>
                  <a:pt x="2450" y="2568"/>
                </a:lnTo>
                <a:lnTo>
                  <a:pt x="2452" y="2568"/>
                </a:lnTo>
                <a:lnTo>
                  <a:pt x="2452" y="2568"/>
                </a:lnTo>
                <a:lnTo>
                  <a:pt x="2452" y="2387"/>
                </a:lnTo>
                <a:lnTo>
                  <a:pt x="2452" y="2229"/>
                </a:lnTo>
                <a:lnTo>
                  <a:pt x="2452" y="2092"/>
                </a:lnTo>
                <a:lnTo>
                  <a:pt x="2452" y="1975"/>
                </a:lnTo>
                <a:lnTo>
                  <a:pt x="2452" y="1874"/>
                </a:lnTo>
                <a:lnTo>
                  <a:pt x="2452" y="1791"/>
                </a:lnTo>
                <a:lnTo>
                  <a:pt x="2452" y="1724"/>
                </a:lnTo>
                <a:lnTo>
                  <a:pt x="2452" y="1669"/>
                </a:lnTo>
                <a:lnTo>
                  <a:pt x="2452" y="1627"/>
                </a:lnTo>
                <a:lnTo>
                  <a:pt x="2452" y="1596"/>
                </a:lnTo>
                <a:lnTo>
                  <a:pt x="2452" y="1572"/>
                </a:lnTo>
                <a:lnTo>
                  <a:pt x="2452" y="1558"/>
                </a:lnTo>
                <a:lnTo>
                  <a:pt x="2452" y="1548"/>
                </a:lnTo>
                <a:lnTo>
                  <a:pt x="2452" y="1543"/>
                </a:lnTo>
                <a:lnTo>
                  <a:pt x="2452" y="1542"/>
                </a:lnTo>
                <a:lnTo>
                  <a:pt x="2452" y="1542"/>
                </a:lnTo>
                <a:lnTo>
                  <a:pt x="2545" y="1542"/>
                </a:lnTo>
                <a:lnTo>
                  <a:pt x="2592" y="1542"/>
                </a:lnTo>
                <a:lnTo>
                  <a:pt x="2610" y="1542"/>
                </a:lnTo>
                <a:lnTo>
                  <a:pt x="2613" y="1542"/>
                </a:lnTo>
                <a:lnTo>
                  <a:pt x="2625" y="1541"/>
                </a:lnTo>
                <a:lnTo>
                  <a:pt x="2636" y="1539"/>
                </a:lnTo>
                <a:lnTo>
                  <a:pt x="2647" y="1536"/>
                </a:lnTo>
                <a:lnTo>
                  <a:pt x="2656" y="1532"/>
                </a:lnTo>
                <a:lnTo>
                  <a:pt x="2666" y="1528"/>
                </a:lnTo>
                <a:lnTo>
                  <a:pt x="2676" y="1522"/>
                </a:lnTo>
                <a:lnTo>
                  <a:pt x="2684" y="1516"/>
                </a:lnTo>
                <a:lnTo>
                  <a:pt x="2691" y="1509"/>
                </a:lnTo>
                <a:lnTo>
                  <a:pt x="2699" y="1500"/>
                </a:lnTo>
                <a:lnTo>
                  <a:pt x="2705" y="1492"/>
                </a:lnTo>
                <a:lnTo>
                  <a:pt x="2711" y="1482"/>
                </a:lnTo>
                <a:lnTo>
                  <a:pt x="2716" y="1472"/>
                </a:lnTo>
                <a:lnTo>
                  <a:pt x="2719" y="1462"/>
                </a:lnTo>
                <a:lnTo>
                  <a:pt x="2722" y="1451"/>
                </a:lnTo>
                <a:lnTo>
                  <a:pt x="2723" y="1440"/>
                </a:lnTo>
                <a:lnTo>
                  <a:pt x="2724" y="1428"/>
                </a:lnTo>
                <a:lnTo>
                  <a:pt x="2723" y="1416"/>
                </a:lnTo>
                <a:lnTo>
                  <a:pt x="2722" y="1405"/>
                </a:lnTo>
                <a:lnTo>
                  <a:pt x="2719" y="1394"/>
                </a:lnTo>
                <a:lnTo>
                  <a:pt x="2716" y="1383"/>
                </a:lnTo>
                <a:lnTo>
                  <a:pt x="2711" y="1373"/>
                </a:lnTo>
                <a:lnTo>
                  <a:pt x="2705" y="1365"/>
                </a:lnTo>
                <a:lnTo>
                  <a:pt x="2699" y="1356"/>
                </a:lnTo>
                <a:lnTo>
                  <a:pt x="2691" y="1347"/>
                </a:lnTo>
                <a:lnTo>
                  <a:pt x="2684" y="1340"/>
                </a:lnTo>
                <a:lnTo>
                  <a:pt x="2676" y="1334"/>
                </a:lnTo>
                <a:lnTo>
                  <a:pt x="2666" y="1328"/>
                </a:lnTo>
                <a:lnTo>
                  <a:pt x="2656" y="1323"/>
                </a:lnTo>
                <a:lnTo>
                  <a:pt x="2647" y="1319"/>
                </a:lnTo>
                <a:lnTo>
                  <a:pt x="2636" y="1317"/>
                </a:lnTo>
                <a:lnTo>
                  <a:pt x="2625" y="1316"/>
                </a:lnTo>
                <a:lnTo>
                  <a:pt x="2613" y="1314"/>
                </a:lnTo>
                <a:close/>
                <a:moveTo>
                  <a:pt x="936" y="1959"/>
                </a:moveTo>
                <a:lnTo>
                  <a:pt x="936" y="1946"/>
                </a:lnTo>
                <a:lnTo>
                  <a:pt x="934" y="1934"/>
                </a:lnTo>
                <a:lnTo>
                  <a:pt x="931" y="1922"/>
                </a:lnTo>
                <a:lnTo>
                  <a:pt x="927" y="1911"/>
                </a:lnTo>
                <a:lnTo>
                  <a:pt x="923" y="1900"/>
                </a:lnTo>
                <a:lnTo>
                  <a:pt x="917" y="1890"/>
                </a:lnTo>
                <a:lnTo>
                  <a:pt x="911" y="1882"/>
                </a:lnTo>
                <a:lnTo>
                  <a:pt x="903" y="1873"/>
                </a:lnTo>
                <a:lnTo>
                  <a:pt x="895" y="1866"/>
                </a:lnTo>
                <a:lnTo>
                  <a:pt x="886" y="1858"/>
                </a:lnTo>
                <a:lnTo>
                  <a:pt x="877" y="1852"/>
                </a:lnTo>
                <a:lnTo>
                  <a:pt x="866" y="1849"/>
                </a:lnTo>
                <a:lnTo>
                  <a:pt x="855" y="1844"/>
                </a:lnTo>
                <a:lnTo>
                  <a:pt x="843" y="1841"/>
                </a:lnTo>
                <a:lnTo>
                  <a:pt x="830" y="1840"/>
                </a:lnTo>
                <a:lnTo>
                  <a:pt x="818" y="1839"/>
                </a:lnTo>
                <a:lnTo>
                  <a:pt x="626" y="1839"/>
                </a:lnTo>
                <a:lnTo>
                  <a:pt x="482" y="1839"/>
                </a:lnTo>
                <a:lnTo>
                  <a:pt x="378" y="1839"/>
                </a:lnTo>
                <a:lnTo>
                  <a:pt x="308" y="1839"/>
                </a:lnTo>
                <a:lnTo>
                  <a:pt x="266" y="1839"/>
                </a:lnTo>
                <a:lnTo>
                  <a:pt x="245" y="1839"/>
                </a:lnTo>
                <a:lnTo>
                  <a:pt x="237" y="1839"/>
                </a:lnTo>
                <a:lnTo>
                  <a:pt x="236" y="1839"/>
                </a:lnTo>
                <a:lnTo>
                  <a:pt x="236" y="1670"/>
                </a:lnTo>
                <a:lnTo>
                  <a:pt x="236" y="1522"/>
                </a:lnTo>
                <a:lnTo>
                  <a:pt x="236" y="1395"/>
                </a:lnTo>
                <a:lnTo>
                  <a:pt x="236" y="1285"/>
                </a:lnTo>
                <a:lnTo>
                  <a:pt x="236" y="1192"/>
                </a:lnTo>
                <a:lnTo>
                  <a:pt x="236" y="1115"/>
                </a:lnTo>
                <a:lnTo>
                  <a:pt x="236" y="1052"/>
                </a:lnTo>
                <a:lnTo>
                  <a:pt x="236" y="1000"/>
                </a:lnTo>
                <a:lnTo>
                  <a:pt x="236" y="961"/>
                </a:lnTo>
                <a:lnTo>
                  <a:pt x="236" y="930"/>
                </a:lnTo>
                <a:lnTo>
                  <a:pt x="236" y="910"/>
                </a:lnTo>
                <a:lnTo>
                  <a:pt x="236" y="895"/>
                </a:lnTo>
                <a:lnTo>
                  <a:pt x="236" y="886"/>
                </a:lnTo>
                <a:lnTo>
                  <a:pt x="236" y="883"/>
                </a:lnTo>
                <a:lnTo>
                  <a:pt x="236" y="880"/>
                </a:lnTo>
                <a:lnTo>
                  <a:pt x="236" y="880"/>
                </a:lnTo>
                <a:lnTo>
                  <a:pt x="236" y="868"/>
                </a:lnTo>
                <a:lnTo>
                  <a:pt x="233" y="857"/>
                </a:lnTo>
                <a:lnTo>
                  <a:pt x="231" y="846"/>
                </a:lnTo>
                <a:lnTo>
                  <a:pt x="226" y="835"/>
                </a:lnTo>
                <a:lnTo>
                  <a:pt x="221" y="824"/>
                </a:lnTo>
                <a:lnTo>
                  <a:pt x="215" y="814"/>
                </a:lnTo>
                <a:lnTo>
                  <a:pt x="208" y="806"/>
                </a:lnTo>
                <a:lnTo>
                  <a:pt x="200" y="797"/>
                </a:lnTo>
                <a:lnTo>
                  <a:pt x="192" y="789"/>
                </a:lnTo>
                <a:lnTo>
                  <a:pt x="182" y="781"/>
                </a:lnTo>
                <a:lnTo>
                  <a:pt x="172" y="775"/>
                </a:lnTo>
                <a:lnTo>
                  <a:pt x="163" y="770"/>
                </a:lnTo>
                <a:lnTo>
                  <a:pt x="152" y="767"/>
                </a:lnTo>
                <a:lnTo>
                  <a:pt x="141" y="763"/>
                </a:lnTo>
                <a:lnTo>
                  <a:pt x="130" y="762"/>
                </a:lnTo>
                <a:lnTo>
                  <a:pt x="118" y="761"/>
                </a:lnTo>
                <a:lnTo>
                  <a:pt x="107" y="762"/>
                </a:lnTo>
                <a:lnTo>
                  <a:pt x="95" y="763"/>
                </a:lnTo>
                <a:lnTo>
                  <a:pt x="84" y="767"/>
                </a:lnTo>
                <a:lnTo>
                  <a:pt x="73" y="770"/>
                </a:lnTo>
                <a:lnTo>
                  <a:pt x="63" y="775"/>
                </a:lnTo>
                <a:lnTo>
                  <a:pt x="53" y="781"/>
                </a:lnTo>
                <a:lnTo>
                  <a:pt x="44" y="789"/>
                </a:lnTo>
                <a:lnTo>
                  <a:pt x="35" y="797"/>
                </a:lnTo>
                <a:lnTo>
                  <a:pt x="28" y="806"/>
                </a:lnTo>
                <a:lnTo>
                  <a:pt x="21" y="814"/>
                </a:lnTo>
                <a:lnTo>
                  <a:pt x="15" y="824"/>
                </a:lnTo>
                <a:lnTo>
                  <a:pt x="10" y="835"/>
                </a:lnTo>
                <a:lnTo>
                  <a:pt x="6" y="846"/>
                </a:lnTo>
                <a:lnTo>
                  <a:pt x="2" y="857"/>
                </a:lnTo>
                <a:lnTo>
                  <a:pt x="1" y="868"/>
                </a:lnTo>
                <a:lnTo>
                  <a:pt x="0" y="880"/>
                </a:lnTo>
                <a:lnTo>
                  <a:pt x="0" y="1070"/>
                </a:lnTo>
                <a:lnTo>
                  <a:pt x="0" y="1236"/>
                </a:lnTo>
                <a:lnTo>
                  <a:pt x="0" y="1380"/>
                </a:lnTo>
                <a:lnTo>
                  <a:pt x="0" y="1504"/>
                </a:lnTo>
                <a:lnTo>
                  <a:pt x="0" y="1609"/>
                </a:lnTo>
                <a:lnTo>
                  <a:pt x="0" y="1696"/>
                </a:lnTo>
                <a:lnTo>
                  <a:pt x="0" y="1767"/>
                </a:lnTo>
                <a:lnTo>
                  <a:pt x="0" y="1824"/>
                </a:lnTo>
                <a:lnTo>
                  <a:pt x="0" y="1869"/>
                </a:lnTo>
                <a:lnTo>
                  <a:pt x="0" y="1902"/>
                </a:lnTo>
                <a:lnTo>
                  <a:pt x="0" y="1926"/>
                </a:lnTo>
                <a:lnTo>
                  <a:pt x="0" y="1943"/>
                </a:lnTo>
                <a:lnTo>
                  <a:pt x="0" y="1953"/>
                </a:lnTo>
                <a:lnTo>
                  <a:pt x="0" y="1957"/>
                </a:lnTo>
                <a:lnTo>
                  <a:pt x="0" y="1959"/>
                </a:lnTo>
                <a:lnTo>
                  <a:pt x="0" y="1959"/>
                </a:lnTo>
                <a:lnTo>
                  <a:pt x="1" y="1975"/>
                </a:lnTo>
                <a:lnTo>
                  <a:pt x="4" y="1989"/>
                </a:lnTo>
                <a:lnTo>
                  <a:pt x="8" y="2004"/>
                </a:lnTo>
                <a:lnTo>
                  <a:pt x="15" y="2016"/>
                </a:lnTo>
                <a:lnTo>
                  <a:pt x="23" y="2028"/>
                </a:lnTo>
                <a:lnTo>
                  <a:pt x="32" y="2039"/>
                </a:lnTo>
                <a:lnTo>
                  <a:pt x="44" y="2049"/>
                </a:lnTo>
                <a:lnTo>
                  <a:pt x="56" y="2058"/>
                </a:lnTo>
                <a:lnTo>
                  <a:pt x="49" y="2074"/>
                </a:lnTo>
                <a:lnTo>
                  <a:pt x="41" y="2091"/>
                </a:lnTo>
                <a:lnTo>
                  <a:pt x="35" y="2108"/>
                </a:lnTo>
                <a:lnTo>
                  <a:pt x="30" y="2126"/>
                </a:lnTo>
                <a:lnTo>
                  <a:pt x="27" y="2143"/>
                </a:lnTo>
                <a:lnTo>
                  <a:pt x="23" y="2162"/>
                </a:lnTo>
                <a:lnTo>
                  <a:pt x="22" y="2180"/>
                </a:lnTo>
                <a:lnTo>
                  <a:pt x="21" y="2198"/>
                </a:lnTo>
                <a:lnTo>
                  <a:pt x="21" y="2308"/>
                </a:lnTo>
                <a:lnTo>
                  <a:pt x="21" y="2390"/>
                </a:lnTo>
                <a:lnTo>
                  <a:pt x="21" y="2449"/>
                </a:lnTo>
                <a:lnTo>
                  <a:pt x="21" y="2489"/>
                </a:lnTo>
                <a:lnTo>
                  <a:pt x="21" y="2513"/>
                </a:lnTo>
                <a:lnTo>
                  <a:pt x="21" y="2525"/>
                </a:lnTo>
                <a:lnTo>
                  <a:pt x="21" y="2530"/>
                </a:lnTo>
                <a:lnTo>
                  <a:pt x="21" y="2531"/>
                </a:lnTo>
                <a:lnTo>
                  <a:pt x="22" y="2541"/>
                </a:lnTo>
                <a:lnTo>
                  <a:pt x="23" y="2550"/>
                </a:lnTo>
                <a:lnTo>
                  <a:pt x="25" y="2561"/>
                </a:lnTo>
                <a:lnTo>
                  <a:pt x="29" y="2570"/>
                </a:lnTo>
                <a:lnTo>
                  <a:pt x="34" y="2580"/>
                </a:lnTo>
                <a:lnTo>
                  <a:pt x="39" y="2588"/>
                </a:lnTo>
                <a:lnTo>
                  <a:pt x="45" y="2597"/>
                </a:lnTo>
                <a:lnTo>
                  <a:pt x="52" y="2604"/>
                </a:lnTo>
                <a:lnTo>
                  <a:pt x="59" y="2612"/>
                </a:lnTo>
                <a:lnTo>
                  <a:pt x="68" y="2618"/>
                </a:lnTo>
                <a:lnTo>
                  <a:pt x="76" y="2623"/>
                </a:lnTo>
                <a:lnTo>
                  <a:pt x="85" y="2627"/>
                </a:lnTo>
                <a:lnTo>
                  <a:pt x="95" y="2631"/>
                </a:lnTo>
                <a:lnTo>
                  <a:pt x="104" y="2634"/>
                </a:lnTo>
                <a:lnTo>
                  <a:pt x="114" y="2636"/>
                </a:lnTo>
                <a:lnTo>
                  <a:pt x="125" y="2636"/>
                </a:lnTo>
                <a:lnTo>
                  <a:pt x="134" y="2636"/>
                </a:lnTo>
                <a:lnTo>
                  <a:pt x="143" y="2634"/>
                </a:lnTo>
                <a:lnTo>
                  <a:pt x="152" y="2631"/>
                </a:lnTo>
                <a:lnTo>
                  <a:pt x="160" y="2627"/>
                </a:lnTo>
                <a:lnTo>
                  <a:pt x="169" y="2623"/>
                </a:lnTo>
                <a:lnTo>
                  <a:pt x="177" y="2618"/>
                </a:lnTo>
                <a:lnTo>
                  <a:pt x="185" y="2612"/>
                </a:lnTo>
                <a:lnTo>
                  <a:pt x="192" y="2604"/>
                </a:lnTo>
                <a:lnTo>
                  <a:pt x="198" y="2597"/>
                </a:lnTo>
                <a:lnTo>
                  <a:pt x="204" y="2588"/>
                </a:lnTo>
                <a:lnTo>
                  <a:pt x="209" y="2580"/>
                </a:lnTo>
                <a:lnTo>
                  <a:pt x="214" y="2570"/>
                </a:lnTo>
                <a:lnTo>
                  <a:pt x="217" y="2561"/>
                </a:lnTo>
                <a:lnTo>
                  <a:pt x="220" y="2550"/>
                </a:lnTo>
                <a:lnTo>
                  <a:pt x="221" y="2541"/>
                </a:lnTo>
                <a:lnTo>
                  <a:pt x="222" y="2531"/>
                </a:lnTo>
                <a:lnTo>
                  <a:pt x="222" y="2421"/>
                </a:lnTo>
                <a:lnTo>
                  <a:pt x="222" y="2339"/>
                </a:lnTo>
                <a:lnTo>
                  <a:pt x="222" y="2280"/>
                </a:lnTo>
                <a:lnTo>
                  <a:pt x="222" y="2240"/>
                </a:lnTo>
                <a:lnTo>
                  <a:pt x="222" y="2217"/>
                </a:lnTo>
                <a:lnTo>
                  <a:pt x="222" y="2204"/>
                </a:lnTo>
                <a:lnTo>
                  <a:pt x="222" y="2200"/>
                </a:lnTo>
                <a:lnTo>
                  <a:pt x="222" y="2198"/>
                </a:lnTo>
                <a:lnTo>
                  <a:pt x="222" y="2190"/>
                </a:lnTo>
                <a:lnTo>
                  <a:pt x="223" y="2181"/>
                </a:lnTo>
                <a:lnTo>
                  <a:pt x="226" y="2173"/>
                </a:lnTo>
                <a:lnTo>
                  <a:pt x="228" y="2165"/>
                </a:lnTo>
                <a:lnTo>
                  <a:pt x="231" y="2158"/>
                </a:lnTo>
                <a:lnTo>
                  <a:pt x="236" y="2151"/>
                </a:lnTo>
                <a:lnTo>
                  <a:pt x="239" y="2145"/>
                </a:lnTo>
                <a:lnTo>
                  <a:pt x="244" y="2138"/>
                </a:lnTo>
                <a:lnTo>
                  <a:pt x="250" y="2132"/>
                </a:lnTo>
                <a:lnTo>
                  <a:pt x="256" y="2129"/>
                </a:lnTo>
                <a:lnTo>
                  <a:pt x="262" y="2124"/>
                </a:lnTo>
                <a:lnTo>
                  <a:pt x="268" y="2120"/>
                </a:lnTo>
                <a:lnTo>
                  <a:pt x="276" y="2118"/>
                </a:lnTo>
                <a:lnTo>
                  <a:pt x="283" y="2116"/>
                </a:lnTo>
                <a:lnTo>
                  <a:pt x="290" y="2115"/>
                </a:lnTo>
                <a:lnTo>
                  <a:pt x="299" y="2114"/>
                </a:lnTo>
                <a:lnTo>
                  <a:pt x="408" y="2114"/>
                </a:lnTo>
                <a:lnTo>
                  <a:pt x="490" y="2114"/>
                </a:lnTo>
                <a:lnTo>
                  <a:pt x="550" y="2114"/>
                </a:lnTo>
                <a:lnTo>
                  <a:pt x="589" y="2114"/>
                </a:lnTo>
                <a:lnTo>
                  <a:pt x="613" y="2114"/>
                </a:lnTo>
                <a:lnTo>
                  <a:pt x="625" y="2114"/>
                </a:lnTo>
                <a:lnTo>
                  <a:pt x="630" y="2114"/>
                </a:lnTo>
                <a:lnTo>
                  <a:pt x="631" y="2114"/>
                </a:lnTo>
                <a:lnTo>
                  <a:pt x="639" y="2115"/>
                </a:lnTo>
                <a:lnTo>
                  <a:pt x="646" y="2116"/>
                </a:lnTo>
                <a:lnTo>
                  <a:pt x="654" y="2118"/>
                </a:lnTo>
                <a:lnTo>
                  <a:pt x="662" y="2120"/>
                </a:lnTo>
                <a:lnTo>
                  <a:pt x="669" y="2124"/>
                </a:lnTo>
                <a:lnTo>
                  <a:pt x="675" y="2129"/>
                </a:lnTo>
                <a:lnTo>
                  <a:pt x="682" y="2132"/>
                </a:lnTo>
                <a:lnTo>
                  <a:pt x="688" y="2138"/>
                </a:lnTo>
                <a:lnTo>
                  <a:pt x="693" y="2145"/>
                </a:lnTo>
                <a:lnTo>
                  <a:pt x="699" y="2151"/>
                </a:lnTo>
                <a:lnTo>
                  <a:pt x="703" y="2158"/>
                </a:lnTo>
                <a:lnTo>
                  <a:pt x="707" y="2165"/>
                </a:lnTo>
                <a:lnTo>
                  <a:pt x="710" y="2173"/>
                </a:lnTo>
                <a:lnTo>
                  <a:pt x="713" y="2181"/>
                </a:lnTo>
                <a:lnTo>
                  <a:pt x="714" y="2190"/>
                </a:lnTo>
                <a:lnTo>
                  <a:pt x="714" y="2198"/>
                </a:lnTo>
                <a:lnTo>
                  <a:pt x="714" y="2308"/>
                </a:lnTo>
                <a:lnTo>
                  <a:pt x="714" y="2390"/>
                </a:lnTo>
                <a:lnTo>
                  <a:pt x="714" y="2449"/>
                </a:lnTo>
                <a:lnTo>
                  <a:pt x="714" y="2489"/>
                </a:lnTo>
                <a:lnTo>
                  <a:pt x="714" y="2513"/>
                </a:lnTo>
                <a:lnTo>
                  <a:pt x="714" y="2525"/>
                </a:lnTo>
                <a:lnTo>
                  <a:pt x="714" y="2530"/>
                </a:lnTo>
                <a:lnTo>
                  <a:pt x="714" y="2531"/>
                </a:lnTo>
                <a:lnTo>
                  <a:pt x="715" y="2541"/>
                </a:lnTo>
                <a:lnTo>
                  <a:pt x="716" y="2550"/>
                </a:lnTo>
                <a:lnTo>
                  <a:pt x="719" y="2561"/>
                </a:lnTo>
                <a:lnTo>
                  <a:pt x="721" y="2570"/>
                </a:lnTo>
                <a:lnTo>
                  <a:pt x="726" y="2580"/>
                </a:lnTo>
                <a:lnTo>
                  <a:pt x="730" y="2588"/>
                </a:lnTo>
                <a:lnTo>
                  <a:pt x="736" y="2597"/>
                </a:lnTo>
                <a:lnTo>
                  <a:pt x="742" y="2604"/>
                </a:lnTo>
                <a:lnTo>
                  <a:pt x="749" y="2612"/>
                </a:lnTo>
                <a:lnTo>
                  <a:pt x="756" y="2618"/>
                </a:lnTo>
                <a:lnTo>
                  <a:pt x="764" y="2623"/>
                </a:lnTo>
                <a:lnTo>
                  <a:pt x="772" y="2627"/>
                </a:lnTo>
                <a:lnTo>
                  <a:pt x="782" y="2631"/>
                </a:lnTo>
                <a:lnTo>
                  <a:pt x="792" y="2634"/>
                </a:lnTo>
                <a:lnTo>
                  <a:pt x="801" y="2636"/>
                </a:lnTo>
                <a:lnTo>
                  <a:pt x="811" y="2636"/>
                </a:lnTo>
                <a:lnTo>
                  <a:pt x="822" y="2636"/>
                </a:lnTo>
                <a:lnTo>
                  <a:pt x="832" y="2634"/>
                </a:lnTo>
                <a:lnTo>
                  <a:pt x="840" y="2631"/>
                </a:lnTo>
                <a:lnTo>
                  <a:pt x="850" y="2627"/>
                </a:lnTo>
                <a:lnTo>
                  <a:pt x="858" y="2623"/>
                </a:lnTo>
                <a:lnTo>
                  <a:pt x="867" y="2618"/>
                </a:lnTo>
                <a:lnTo>
                  <a:pt x="874" y="2612"/>
                </a:lnTo>
                <a:lnTo>
                  <a:pt x="880" y="2604"/>
                </a:lnTo>
                <a:lnTo>
                  <a:pt x="886" y="2597"/>
                </a:lnTo>
                <a:lnTo>
                  <a:pt x="892" y="2588"/>
                </a:lnTo>
                <a:lnTo>
                  <a:pt x="897" y="2580"/>
                </a:lnTo>
                <a:lnTo>
                  <a:pt x="901" y="2570"/>
                </a:lnTo>
                <a:lnTo>
                  <a:pt x="904" y="2561"/>
                </a:lnTo>
                <a:lnTo>
                  <a:pt x="907" y="2550"/>
                </a:lnTo>
                <a:lnTo>
                  <a:pt x="908" y="2541"/>
                </a:lnTo>
                <a:lnTo>
                  <a:pt x="908" y="2531"/>
                </a:lnTo>
                <a:lnTo>
                  <a:pt x="908" y="2421"/>
                </a:lnTo>
                <a:lnTo>
                  <a:pt x="908" y="2339"/>
                </a:lnTo>
                <a:lnTo>
                  <a:pt x="908" y="2280"/>
                </a:lnTo>
                <a:lnTo>
                  <a:pt x="908" y="2240"/>
                </a:lnTo>
                <a:lnTo>
                  <a:pt x="908" y="2217"/>
                </a:lnTo>
                <a:lnTo>
                  <a:pt x="908" y="2204"/>
                </a:lnTo>
                <a:lnTo>
                  <a:pt x="908" y="2200"/>
                </a:lnTo>
                <a:lnTo>
                  <a:pt x="908" y="2198"/>
                </a:lnTo>
                <a:lnTo>
                  <a:pt x="908" y="2180"/>
                </a:lnTo>
                <a:lnTo>
                  <a:pt x="906" y="2162"/>
                </a:lnTo>
                <a:lnTo>
                  <a:pt x="903" y="2145"/>
                </a:lnTo>
                <a:lnTo>
                  <a:pt x="898" y="2126"/>
                </a:lnTo>
                <a:lnTo>
                  <a:pt x="894" y="2110"/>
                </a:lnTo>
                <a:lnTo>
                  <a:pt x="887" y="2094"/>
                </a:lnTo>
                <a:lnTo>
                  <a:pt x="881" y="2079"/>
                </a:lnTo>
                <a:lnTo>
                  <a:pt x="874" y="2065"/>
                </a:lnTo>
                <a:lnTo>
                  <a:pt x="881" y="2060"/>
                </a:lnTo>
                <a:lnTo>
                  <a:pt x="889" y="2056"/>
                </a:lnTo>
                <a:lnTo>
                  <a:pt x="895" y="2050"/>
                </a:lnTo>
                <a:lnTo>
                  <a:pt x="901" y="2045"/>
                </a:lnTo>
                <a:lnTo>
                  <a:pt x="912" y="2033"/>
                </a:lnTo>
                <a:lnTo>
                  <a:pt x="920" y="2020"/>
                </a:lnTo>
                <a:lnTo>
                  <a:pt x="927" y="2005"/>
                </a:lnTo>
                <a:lnTo>
                  <a:pt x="932" y="1990"/>
                </a:lnTo>
                <a:lnTo>
                  <a:pt x="935" y="1975"/>
                </a:lnTo>
                <a:lnTo>
                  <a:pt x="936" y="1959"/>
                </a:lnTo>
                <a:close/>
                <a:moveTo>
                  <a:pt x="1239" y="1633"/>
                </a:moveTo>
                <a:lnTo>
                  <a:pt x="1237" y="1621"/>
                </a:lnTo>
                <a:lnTo>
                  <a:pt x="1235" y="1608"/>
                </a:lnTo>
                <a:lnTo>
                  <a:pt x="1230" y="1596"/>
                </a:lnTo>
                <a:lnTo>
                  <a:pt x="1225" y="1585"/>
                </a:lnTo>
                <a:lnTo>
                  <a:pt x="1219" y="1574"/>
                </a:lnTo>
                <a:lnTo>
                  <a:pt x="1213" y="1563"/>
                </a:lnTo>
                <a:lnTo>
                  <a:pt x="1204" y="1553"/>
                </a:lnTo>
                <a:lnTo>
                  <a:pt x="1196" y="1544"/>
                </a:lnTo>
                <a:lnTo>
                  <a:pt x="1186" y="1536"/>
                </a:lnTo>
                <a:lnTo>
                  <a:pt x="1175" y="1528"/>
                </a:lnTo>
                <a:lnTo>
                  <a:pt x="1164" y="1522"/>
                </a:lnTo>
                <a:lnTo>
                  <a:pt x="1153" y="1517"/>
                </a:lnTo>
                <a:lnTo>
                  <a:pt x="1140" y="1512"/>
                </a:lnTo>
                <a:lnTo>
                  <a:pt x="1128" y="1510"/>
                </a:lnTo>
                <a:lnTo>
                  <a:pt x="1113" y="1508"/>
                </a:lnTo>
                <a:lnTo>
                  <a:pt x="1100" y="1506"/>
                </a:lnTo>
                <a:lnTo>
                  <a:pt x="1021" y="1509"/>
                </a:lnTo>
                <a:lnTo>
                  <a:pt x="961" y="1511"/>
                </a:lnTo>
                <a:lnTo>
                  <a:pt x="920" y="1512"/>
                </a:lnTo>
                <a:lnTo>
                  <a:pt x="891" y="1512"/>
                </a:lnTo>
                <a:lnTo>
                  <a:pt x="874" y="1514"/>
                </a:lnTo>
                <a:lnTo>
                  <a:pt x="866" y="1514"/>
                </a:lnTo>
                <a:lnTo>
                  <a:pt x="862" y="1514"/>
                </a:lnTo>
                <a:lnTo>
                  <a:pt x="862" y="1514"/>
                </a:lnTo>
                <a:lnTo>
                  <a:pt x="862" y="1402"/>
                </a:lnTo>
                <a:lnTo>
                  <a:pt x="862" y="1318"/>
                </a:lnTo>
                <a:lnTo>
                  <a:pt x="862" y="1258"/>
                </a:lnTo>
                <a:lnTo>
                  <a:pt x="862" y="1218"/>
                </a:lnTo>
                <a:lnTo>
                  <a:pt x="862" y="1193"/>
                </a:lnTo>
                <a:lnTo>
                  <a:pt x="862" y="1181"/>
                </a:lnTo>
                <a:lnTo>
                  <a:pt x="862" y="1176"/>
                </a:lnTo>
                <a:lnTo>
                  <a:pt x="862" y="1176"/>
                </a:lnTo>
                <a:lnTo>
                  <a:pt x="877" y="1188"/>
                </a:lnTo>
                <a:lnTo>
                  <a:pt x="891" y="1201"/>
                </a:lnTo>
                <a:lnTo>
                  <a:pt x="907" y="1212"/>
                </a:lnTo>
                <a:lnTo>
                  <a:pt x="923" y="1223"/>
                </a:lnTo>
                <a:lnTo>
                  <a:pt x="938" y="1232"/>
                </a:lnTo>
                <a:lnTo>
                  <a:pt x="955" y="1242"/>
                </a:lnTo>
                <a:lnTo>
                  <a:pt x="972" y="1251"/>
                </a:lnTo>
                <a:lnTo>
                  <a:pt x="991" y="1258"/>
                </a:lnTo>
                <a:lnTo>
                  <a:pt x="1009" y="1265"/>
                </a:lnTo>
                <a:lnTo>
                  <a:pt x="1027" y="1272"/>
                </a:lnTo>
                <a:lnTo>
                  <a:pt x="1046" y="1276"/>
                </a:lnTo>
                <a:lnTo>
                  <a:pt x="1067" y="1280"/>
                </a:lnTo>
                <a:lnTo>
                  <a:pt x="1088" y="1284"/>
                </a:lnTo>
                <a:lnTo>
                  <a:pt x="1110" y="1286"/>
                </a:lnTo>
                <a:lnTo>
                  <a:pt x="1133" y="1287"/>
                </a:lnTo>
                <a:lnTo>
                  <a:pt x="1156" y="1289"/>
                </a:lnTo>
                <a:lnTo>
                  <a:pt x="1182" y="1287"/>
                </a:lnTo>
                <a:lnTo>
                  <a:pt x="1210" y="1285"/>
                </a:lnTo>
                <a:lnTo>
                  <a:pt x="1239" y="1281"/>
                </a:lnTo>
                <a:lnTo>
                  <a:pt x="1271" y="1276"/>
                </a:lnTo>
                <a:lnTo>
                  <a:pt x="1303" y="1268"/>
                </a:lnTo>
                <a:lnTo>
                  <a:pt x="1337" y="1258"/>
                </a:lnTo>
                <a:lnTo>
                  <a:pt x="1371" y="1247"/>
                </a:lnTo>
                <a:lnTo>
                  <a:pt x="1407" y="1232"/>
                </a:lnTo>
                <a:lnTo>
                  <a:pt x="1418" y="1228"/>
                </a:lnTo>
                <a:lnTo>
                  <a:pt x="1429" y="1221"/>
                </a:lnTo>
                <a:lnTo>
                  <a:pt x="1440" y="1215"/>
                </a:lnTo>
                <a:lnTo>
                  <a:pt x="1448" y="1208"/>
                </a:lnTo>
                <a:lnTo>
                  <a:pt x="1457" y="1199"/>
                </a:lnTo>
                <a:lnTo>
                  <a:pt x="1464" y="1191"/>
                </a:lnTo>
                <a:lnTo>
                  <a:pt x="1470" y="1181"/>
                </a:lnTo>
                <a:lnTo>
                  <a:pt x="1476" y="1170"/>
                </a:lnTo>
                <a:lnTo>
                  <a:pt x="1481" y="1159"/>
                </a:lnTo>
                <a:lnTo>
                  <a:pt x="1484" y="1148"/>
                </a:lnTo>
                <a:lnTo>
                  <a:pt x="1486" y="1137"/>
                </a:lnTo>
                <a:lnTo>
                  <a:pt x="1487" y="1125"/>
                </a:lnTo>
                <a:lnTo>
                  <a:pt x="1486" y="1113"/>
                </a:lnTo>
                <a:lnTo>
                  <a:pt x="1485" y="1100"/>
                </a:lnTo>
                <a:lnTo>
                  <a:pt x="1481" y="1089"/>
                </a:lnTo>
                <a:lnTo>
                  <a:pt x="1477" y="1077"/>
                </a:lnTo>
                <a:lnTo>
                  <a:pt x="1473" y="1066"/>
                </a:lnTo>
                <a:lnTo>
                  <a:pt x="1467" y="1056"/>
                </a:lnTo>
                <a:lnTo>
                  <a:pt x="1460" y="1048"/>
                </a:lnTo>
                <a:lnTo>
                  <a:pt x="1453" y="1039"/>
                </a:lnTo>
                <a:lnTo>
                  <a:pt x="1445" y="1032"/>
                </a:lnTo>
                <a:lnTo>
                  <a:pt x="1436" y="1025"/>
                </a:lnTo>
                <a:lnTo>
                  <a:pt x="1426" y="1019"/>
                </a:lnTo>
                <a:lnTo>
                  <a:pt x="1416" y="1014"/>
                </a:lnTo>
                <a:lnTo>
                  <a:pt x="1405" y="1010"/>
                </a:lnTo>
                <a:lnTo>
                  <a:pt x="1394" y="1006"/>
                </a:lnTo>
                <a:lnTo>
                  <a:pt x="1383" y="1004"/>
                </a:lnTo>
                <a:lnTo>
                  <a:pt x="1371" y="1004"/>
                </a:lnTo>
                <a:lnTo>
                  <a:pt x="1358" y="1004"/>
                </a:lnTo>
                <a:lnTo>
                  <a:pt x="1348" y="1006"/>
                </a:lnTo>
                <a:lnTo>
                  <a:pt x="1335" y="1009"/>
                </a:lnTo>
                <a:lnTo>
                  <a:pt x="1323" y="1014"/>
                </a:lnTo>
                <a:lnTo>
                  <a:pt x="1281" y="1030"/>
                </a:lnTo>
                <a:lnTo>
                  <a:pt x="1242" y="1041"/>
                </a:lnTo>
                <a:lnTo>
                  <a:pt x="1224" y="1045"/>
                </a:lnTo>
                <a:lnTo>
                  <a:pt x="1207" y="1049"/>
                </a:lnTo>
                <a:lnTo>
                  <a:pt x="1191" y="1052"/>
                </a:lnTo>
                <a:lnTo>
                  <a:pt x="1175" y="1053"/>
                </a:lnTo>
                <a:lnTo>
                  <a:pt x="1159" y="1054"/>
                </a:lnTo>
                <a:lnTo>
                  <a:pt x="1145" y="1054"/>
                </a:lnTo>
                <a:lnTo>
                  <a:pt x="1130" y="1052"/>
                </a:lnTo>
                <a:lnTo>
                  <a:pt x="1117" y="1050"/>
                </a:lnTo>
                <a:lnTo>
                  <a:pt x="1104" y="1047"/>
                </a:lnTo>
                <a:lnTo>
                  <a:pt x="1090" y="1042"/>
                </a:lnTo>
                <a:lnTo>
                  <a:pt x="1077" y="1036"/>
                </a:lnTo>
                <a:lnTo>
                  <a:pt x="1065" y="1030"/>
                </a:lnTo>
                <a:lnTo>
                  <a:pt x="1051" y="1021"/>
                </a:lnTo>
                <a:lnTo>
                  <a:pt x="1039" y="1012"/>
                </a:lnTo>
                <a:lnTo>
                  <a:pt x="1026" y="1003"/>
                </a:lnTo>
                <a:lnTo>
                  <a:pt x="1014" y="992"/>
                </a:lnTo>
                <a:lnTo>
                  <a:pt x="1000" y="979"/>
                </a:lnTo>
                <a:lnTo>
                  <a:pt x="987" y="965"/>
                </a:lnTo>
                <a:lnTo>
                  <a:pt x="974" y="950"/>
                </a:lnTo>
                <a:lnTo>
                  <a:pt x="959" y="934"/>
                </a:lnTo>
                <a:lnTo>
                  <a:pt x="930" y="899"/>
                </a:lnTo>
                <a:lnTo>
                  <a:pt x="898" y="857"/>
                </a:lnTo>
                <a:lnTo>
                  <a:pt x="864" y="811"/>
                </a:lnTo>
                <a:lnTo>
                  <a:pt x="827" y="759"/>
                </a:lnTo>
                <a:lnTo>
                  <a:pt x="818" y="748"/>
                </a:lnTo>
                <a:lnTo>
                  <a:pt x="810" y="737"/>
                </a:lnTo>
                <a:lnTo>
                  <a:pt x="800" y="726"/>
                </a:lnTo>
                <a:lnTo>
                  <a:pt x="790" y="717"/>
                </a:lnTo>
                <a:lnTo>
                  <a:pt x="781" y="707"/>
                </a:lnTo>
                <a:lnTo>
                  <a:pt x="770" y="697"/>
                </a:lnTo>
                <a:lnTo>
                  <a:pt x="758" y="688"/>
                </a:lnTo>
                <a:lnTo>
                  <a:pt x="747" y="681"/>
                </a:lnTo>
                <a:lnTo>
                  <a:pt x="722" y="665"/>
                </a:lnTo>
                <a:lnTo>
                  <a:pt x="697" y="653"/>
                </a:lnTo>
                <a:lnTo>
                  <a:pt x="671" y="642"/>
                </a:lnTo>
                <a:lnTo>
                  <a:pt x="645" y="633"/>
                </a:lnTo>
                <a:lnTo>
                  <a:pt x="640" y="632"/>
                </a:lnTo>
                <a:lnTo>
                  <a:pt x="626" y="630"/>
                </a:lnTo>
                <a:lnTo>
                  <a:pt x="607" y="627"/>
                </a:lnTo>
                <a:lnTo>
                  <a:pt x="582" y="626"/>
                </a:lnTo>
                <a:lnTo>
                  <a:pt x="556" y="627"/>
                </a:lnTo>
                <a:lnTo>
                  <a:pt x="534" y="630"/>
                </a:lnTo>
                <a:lnTo>
                  <a:pt x="518" y="632"/>
                </a:lnTo>
                <a:lnTo>
                  <a:pt x="512" y="633"/>
                </a:lnTo>
                <a:lnTo>
                  <a:pt x="493" y="640"/>
                </a:lnTo>
                <a:lnTo>
                  <a:pt x="472" y="646"/>
                </a:lnTo>
                <a:lnTo>
                  <a:pt x="453" y="654"/>
                </a:lnTo>
                <a:lnTo>
                  <a:pt x="435" y="664"/>
                </a:lnTo>
                <a:lnTo>
                  <a:pt x="415" y="675"/>
                </a:lnTo>
                <a:lnTo>
                  <a:pt x="397" y="687"/>
                </a:lnTo>
                <a:lnTo>
                  <a:pt x="380" y="701"/>
                </a:lnTo>
                <a:lnTo>
                  <a:pt x="364" y="715"/>
                </a:lnTo>
                <a:lnTo>
                  <a:pt x="350" y="731"/>
                </a:lnTo>
                <a:lnTo>
                  <a:pt x="336" y="748"/>
                </a:lnTo>
                <a:lnTo>
                  <a:pt x="324" y="767"/>
                </a:lnTo>
                <a:lnTo>
                  <a:pt x="314" y="785"/>
                </a:lnTo>
                <a:lnTo>
                  <a:pt x="306" y="806"/>
                </a:lnTo>
                <a:lnTo>
                  <a:pt x="300" y="827"/>
                </a:lnTo>
                <a:lnTo>
                  <a:pt x="299" y="838"/>
                </a:lnTo>
                <a:lnTo>
                  <a:pt x="296" y="850"/>
                </a:lnTo>
                <a:lnTo>
                  <a:pt x="296" y="861"/>
                </a:lnTo>
                <a:lnTo>
                  <a:pt x="295" y="873"/>
                </a:lnTo>
                <a:lnTo>
                  <a:pt x="295" y="1098"/>
                </a:lnTo>
                <a:lnTo>
                  <a:pt x="295" y="1268"/>
                </a:lnTo>
                <a:lnTo>
                  <a:pt x="295" y="1389"/>
                </a:lnTo>
                <a:lnTo>
                  <a:pt x="295" y="1471"/>
                </a:lnTo>
                <a:lnTo>
                  <a:pt x="295" y="1520"/>
                </a:lnTo>
                <a:lnTo>
                  <a:pt x="295" y="1545"/>
                </a:lnTo>
                <a:lnTo>
                  <a:pt x="295" y="1555"/>
                </a:lnTo>
                <a:lnTo>
                  <a:pt x="295" y="1556"/>
                </a:lnTo>
                <a:lnTo>
                  <a:pt x="296" y="1570"/>
                </a:lnTo>
                <a:lnTo>
                  <a:pt x="297" y="1583"/>
                </a:lnTo>
                <a:lnTo>
                  <a:pt x="299" y="1597"/>
                </a:lnTo>
                <a:lnTo>
                  <a:pt x="302" y="1609"/>
                </a:lnTo>
                <a:lnTo>
                  <a:pt x="306" y="1621"/>
                </a:lnTo>
                <a:lnTo>
                  <a:pt x="310" y="1633"/>
                </a:lnTo>
                <a:lnTo>
                  <a:pt x="314" y="1644"/>
                </a:lnTo>
                <a:lnTo>
                  <a:pt x="320" y="1655"/>
                </a:lnTo>
                <a:lnTo>
                  <a:pt x="327" y="1666"/>
                </a:lnTo>
                <a:lnTo>
                  <a:pt x="334" y="1677"/>
                </a:lnTo>
                <a:lnTo>
                  <a:pt x="341" y="1687"/>
                </a:lnTo>
                <a:lnTo>
                  <a:pt x="348" y="1697"/>
                </a:lnTo>
                <a:lnTo>
                  <a:pt x="357" y="1707"/>
                </a:lnTo>
                <a:lnTo>
                  <a:pt x="367" y="1715"/>
                </a:lnTo>
                <a:lnTo>
                  <a:pt x="375" y="1724"/>
                </a:lnTo>
                <a:lnTo>
                  <a:pt x="385" y="1731"/>
                </a:lnTo>
                <a:lnTo>
                  <a:pt x="407" y="1746"/>
                </a:lnTo>
                <a:lnTo>
                  <a:pt x="429" y="1759"/>
                </a:lnTo>
                <a:lnTo>
                  <a:pt x="452" y="1770"/>
                </a:lnTo>
                <a:lnTo>
                  <a:pt x="476" y="1779"/>
                </a:lnTo>
                <a:lnTo>
                  <a:pt x="500" y="1786"/>
                </a:lnTo>
                <a:lnTo>
                  <a:pt x="524" y="1791"/>
                </a:lnTo>
                <a:lnTo>
                  <a:pt x="550" y="1795"/>
                </a:lnTo>
                <a:lnTo>
                  <a:pt x="575" y="1796"/>
                </a:lnTo>
                <a:lnTo>
                  <a:pt x="586" y="1796"/>
                </a:lnTo>
                <a:lnTo>
                  <a:pt x="603" y="1796"/>
                </a:lnTo>
                <a:lnTo>
                  <a:pt x="727" y="1796"/>
                </a:lnTo>
                <a:lnTo>
                  <a:pt x="822" y="1796"/>
                </a:lnTo>
                <a:lnTo>
                  <a:pt x="889" y="1796"/>
                </a:lnTo>
                <a:lnTo>
                  <a:pt x="934" y="1796"/>
                </a:lnTo>
                <a:lnTo>
                  <a:pt x="960" y="1796"/>
                </a:lnTo>
                <a:lnTo>
                  <a:pt x="975" y="1796"/>
                </a:lnTo>
                <a:lnTo>
                  <a:pt x="980" y="1796"/>
                </a:lnTo>
                <a:lnTo>
                  <a:pt x="981" y="1796"/>
                </a:lnTo>
                <a:lnTo>
                  <a:pt x="1006" y="2026"/>
                </a:lnTo>
                <a:lnTo>
                  <a:pt x="1025" y="2200"/>
                </a:lnTo>
                <a:lnTo>
                  <a:pt x="1039" y="2323"/>
                </a:lnTo>
                <a:lnTo>
                  <a:pt x="1048" y="2406"/>
                </a:lnTo>
                <a:lnTo>
                  <a:pt x="1054" y="2456"/>
                </a:lnTo>
                <a:lnTo>
                  <a:pt x="1056" y="2483"/>
                </a:lnTo>
                <a:lnTo>
                  <a:pt x="1057" y="2492"/>
                </a:lnTo>
                <a:lnTo>
                  <a:pt x="1057" y="2493"/>
                </a:lnTo>
                <a:lnTo>
                  <a:pt x="1060" y="2506"/>
                </a:lnTo>
                <a:lnTo>
                  <a:pt x="1062" y="2519"/>
                </a:lnTo>
                <a:lnTo>
                  <a:pt x="1067" y="2531"/>
                </a:lnTo>
                <a:lnTo>
                  <a:pt x="1072" y="2543"/>
                </a:lnTo>
                <a:lnTo>
                  <a:pt x="1079" y="2554"/>
                </a:lnTo>
                <a:lnTo>
                  <a:pt x="1087" y="2565"/>
                </a:lnTo>
                <a:lnTo>
                  <a:pt x="1095" y="2575"/>
                </a:lnTo>
                <a:lnTo>
                  <a:pt x="1104" y="2583"/>
                </a:lnTo>
                <a:lnTo>
                  <a:pt x="1113" y="2592"/>
                </a:lnTo>
                <a:lnTo>
                  <a:pt x="1124" y="2599"/>
                </a:lnTo>
                <a:lnTo>
                  <a:pt x="1135" y="2605"/>
                </a:lnTo>
                <a:lnTo>
                  <a:pt x="1147" y="2610"/>
                </a:lnTo>
                <a:lnTo>
                  <a:pt x="1159" y="2615"/>
                </a:lnTo>
                <a:lnTo>
                  <a:pt x="1172" y="2618"/>
                </a:lnTo>
                <a:lnTo>
                  <a:pt x="1185" y="2620"/>
                </a:lnTo>
                <a:lnTo>
                  <a:pt x="1197" y="2620"/>
                </a:lnTo>
                <a:lnTo>
                  <a:pt x="1207" y="2620"/>
                </a:lnTo>
                <a:lnTo>
                  <a:pt x="1212" y="2620"/>
                </a:lnTo>
                <a:lnTo>
                  <a:pt x="1225" y="2619"/>
                </a:lnTo>
                <a:lnTo>
                  <a:pt x="1239" y="2615"/>
                </a:lnTo>
                <a:lnTo>
                  <a:pt x="1252" y="2610"/>
                </a:lnTo>
                <a:lnTo>
                  <a:pt x="1265" y="2604"/>
                </a:lnTo>
                <a:lnTo>
                  <a:pt x="1276" y="2597"/>
                </a:lnTo>
                <a:lnTo>
                  <a:pt x="1287" y="2588"/>
                </a:lnTo>
                <a:lnTo>
                  <a:pt x="1297" y="2580"/>
                </a:lnTo>
                <a:lnTo>
                  <a:pt x="1306" y="2569"/>
                </a:lnTo>
                <a:lnTo>
                  <a:pt x="1314" y="2558"/>
                </a:lnTo>
                <a:lnTo>
                  <a:pt x="1321" y="2547"/>
                </a:lnTo>
                <a:lnTo>
                  <a:pt x="1327" y="2535"/>
                </a:lnTo>
                <a:lnTo>
                  <a:pt x="1332" y="2521"/>
                </a:lnTo>
                <a:lnTo>
                  <a:pt x="1334" y="2508"/>
                </a:lnTo>
                <a:lnTo>
                  <a:pt x="1337" y="2494"/>
                </a:lnTo>
                <a:lnTo>
                  <a:pt x="1338" y="2480"/>
                </a:lnTo>
                <a:lnTo>
                  <a:pt x="1337" y="2465"/>
                </a:lnTo>
                <a:lnTo>
                  <a:pt x="1239" y="1633"/>
                </a:lnTo>
                <a:close/>
              </a:path>
            </a:pathLst>
          </a:custGeom>
          <a:solidFill>
            <a:srgbClr val="EA5356"/>
          </a:solidFill>
          <a:ln>
            <a:noFill/>
          </a:ln>
        </p:spPr>
        <p:txBody>
          <a:bodyPr vert="horz" wrap="square" lIns="45713" tIns="22856" rIns="45713" bIns="22856" numCol="1" anchor="t" anchorCtr="0" compatLnSpc="1">
            <a:prstTxWarp prst="textNoShape">
              <a:avLst/>
            </a:prstTxWarp>
          </a:bodyPr>
          <a:lstStyle/>
          <a:p>
            <a:endParaRPr lang="ru-RU" sz="1600">
              <a:solidFill>
                <a:prstClr val="black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8" name="Прямоугольник 20"/>
          <p:cNvSpPr/>
          <p:nvPr/>
        </p:nvSpPr>
        <p:spPr>
          <a:xfrm>
            <a:off x="1858503" y="3212544"/>
            <a:ext cx="1133644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fr-FR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Gill Sans" panose="020B0604020202020204"/>
                <a:ea typeface="Roboto Condensed" panose="02000000000000000000" pitchFamily="2" charset="0"/>
                <a:cs typeface="Arial" panose="020B0604020202020204" pitchFamily="34" charset="0"/>
              </a:rPr>
              <a:t>POUVOIR</a:t>
            </a:r>
            <a:endParaRPr lang="ru-RU" sz="1600" b="1" dirty="0">
              <a:solidFill>
                <a:prstClr val="black">
                  <a:lumMod val="75000"/>
                  <a:lumOff val="25000"/>
                </a:prst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9" name="TextBox 21"/>
          <p:cNvSpPr txBox="1"/>
          <p:nvPr/>
        </p:nvSpPr>
        <p:spPr>
          <a:xfrm>
            <a:off x="1427294" y="3568070"/>
            <a:ext cx="1996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Le Contrôle, la domination</a:t>
            </a: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" name="Прямоугольник 22"/>
          <p:cNvSpPr/>
          <p:nvPr/>
        </p:nvSpPr>
        <p:spPr>
          <a:xfrm>
            <a:off x="3330581" y="3212544"/>
            <a:ext cx="233269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Gill Sans" panose="020B0604020202020204"/>
                <a:ea typeface="Roboto Condensed" panose="02000000000000000000" pitchFamily="2" charset="0"/>
                <a:cs typeface="Arial" panose="020B0604020202020204" pitchFamily="34" charset="0"/>
              </a:rPr>
              <a:t>LA CONCRÉTISATION</a:t>
            </a:r>
            <a:endParaRPr lang="ru-RU" sz="1600" b="1" dirty="0">
              <a:solidFill>
                <a:prstClr val="black">
                  <a:lumMod val="75000"/>
                  <a:lumOff val="25000"/>
                </a:prstClr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51" name="TextBox 23"/>
          <p:cNvSpPr txBox="1"/>
          <p:nvPr/>
        </p:nvSpPr>
        <p:spPr>
          <a:xfrm>
            <a:off x="3498533" y="3601917"/>
            <a:ext cx="19960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La Tache exécutée, Atteindre l'Objectif.</a:t>
            </a:r>
          </a:p>
          <a:p>
            <a:pPr algn="ctr"/>
            <a:endParaRPr lang="fr-FR" sz="1600" dirty="0">
              <a:solidFill>
                <a:prstClr val="black">
                  <a:lumMod val="75000"/>
                  <a:lumOff val="25000"/>
                </a:prstClr>
              </a:solidFill>
              <a:latin typeface="Gill Sans" panose="020B0604020202020204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24"/>
          <p:cNvSpPr/>
          <p:nvPr/>
        </p:nvSpPr>
        <p:spPr>
          <a:xfrm>
            <a:off x="5942905" y="3224086"/>
            <a:ext cx="1212191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Gill Sans" panose="020B0604020202020204"/>
                <a:ea typeface="Roboto Condensed" panose="02000000000000000000" pitchFamily="2" charset="0"/>
                <a:cs typeface="Arial" panose="020B0604020202020204" pitchFamily="34" charset="0"/>
              </a:rPr>
              <a:t>RELATION</a:t>
            </a:r>
            <a:endParaRPr lang="ru-RU" sz="1600" b="1" dirty="0">
              <a:solidFill>
                <a:prstClr val="black">
                  <a:lumMod val="75000"/>
                  <a:lumOff val="25000"/>
                </a:prst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" name="TextBox 25"/>
          <p:cNvSpPr txBox="1"/>
          <p:nvPr/>
        </p:nvSpPr>
        <p:spPr>
          <a:xfrm>
            <a:off x="5569772" y="3601918"/>
            <a:ext cx="1996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Gill Sans" panose="020B0604020202020204"/>
                <a:ea typeface="Roboto Condensed Light" panose="02000000000000000000" pitchFamily="2" charset="0"/>
                <a:cs typeface="Arial" panose="020B0604020202020204" pitchFamily="34" charset="0"/>
              </a:rPr>
              <a:t> Amitié, being populaire, l'amour</a:t>
            </a: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  <a:latin typeface="Roboto Condensed Light" panose="02000000000000000000" pitchFamily="2" charset="0"/>
              <a:ea typeface="Roboto Condensed Light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" name="Espace réservé du texte 2"/>
          <p:cNvSpPr txBox="1">
            <a:spLocks/>
          </p:cNvSpPr>
          <p:nvPr/>
        </p:nvSpPr>
        <p:spPr>
          <a:xfrm>
            <a:off x="304799" y="266513"/>
            <a:ext cx="8534400" cy="692337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rm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1800" b="1" smtClean="0">
                <a:solidFill>
                  <a:srgbClr val="C2113A"/>
                </a:solidFill>
                <a:latin typeface="Gill Sans" panose="020B0604020202020204"/>
                <a:ea typeface="Calibri" panose="020F0502020204030204" pitchFamily="34" charset="0"/>
                <a:cs typeface="Helvetica Neue" panose="02000806000000020004" pitchFamily="50"/>
              </a:rPr>
              <a:t>LES DIFFÉRENCES DANS LES MEMBRES DE L'ÉQUIPE</a:t>
            </a:r>
            <a:endParaRPr lang="fr-FR" sz="1800" b="1" dirty="0">
              <a:solidFill>
                <a:srgbClr val="C2113A"/>
              </a:solidFill>
              <a:latin typeface="Gill Sans" panose="020B0604020202020204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E9271533-A034-4119-9054-EBA505EF2F2B}" type="slidenum">
              <a:rPr lang="fr-FR" sz="1200" smtClean="0">
                <a:latin typeface="Gill Sans" panose="020B0604020202020204"/>
              </a:rPr>
              <a:pPr algn="ctr"/>
              <a:t>9</a:t>
            </a:fld>
            <a:r>
              <a:rPr lang="fr-FR" sz="1200" smtClean="0">
                <a:latin typeface="Gill Sans" panose="020B0604020202020204"/>
              </a:rPr>
              <a:t> / 16</a:t>
            </a:r>
            <a:endParaRPr lang="fr-FR" sz="1200">
              <a:latin typeface="Gill Sans" panose="020B060402020202020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727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86"/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86"/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86"/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91"/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92"/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>
        <a:normAutofit fontScale="92500" lnSpcReduction="20000"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ontent empty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Back cover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Content empty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924</TotalTime>
  <Words>529</Words>
  <Application>Microsoft Office PowerPoint</Application>
  <PresentationFormat>Affichage à l'écran (4:3)</PresentationFormat>
  <Paragraphs>99</Paragraphs>
  <Slides>16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34" baseType="lpstr">
      <vt:lpstr>ＭＳ Ｐゴシック</vt:lpstr>
      <vt:lpstr>ＭＳ Ｐゴシック</vt:lpstr>
      <vt:lpstr>Arial</vt:lpstr>
      <vt:lpstr>Calibri</vt:lpstr>
      <vt:lpstr>Cordia New</vt:lpstr>
      <vt:lpstr>FontAwesome</vt:lpstr>
      <vt:lpstr>Gill Sans</vt:lpstr>
      <vt:lpstr>Helvetica Neue</vt:lpstr>
      <vt:lpstr>Lato</vt:lpstr>
      <vt:lpstr>Lato Light</vt:lpstr>
      <vt:lpstr>Roboto</vt:lpstr>
      <vt:lpstr>Roboto Condensed</vt:lpstr>
      <vt:lpstr>Roboto Condensed Light</vt:lpstr>
      <vt:lpstr>Thème Office</vt:lpstr>
      <vt:lpstr>Content empty</vt:lpstr>
      <vt:lpstr>Back cover</vt:lpstr>
      <vt:lpstr>1_Content empty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OZ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Oussama Benbila</dc:creator>
  <cp:lastModifiedBy>SD</cp:lastModifiedBy>
  <cp:revision>270</cp:revision>
  <dcterms:created xsi:type="dcterms:W3CDTF">2015-12-09T11:43:05Z</dcterms:created>
  <dcterms:modified xsi:type="dcterms:W3CDTF">2019-06-16T20:3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AC52AB6-8349-4B94-9345-CB1BC8B4D574</vt:lpwstr>
  </property>
  <property fmtid="{D5CDD505-2E9C-101B-9397-08002B2CF9AE}" pid="3" name="ArticulatePath">
    <vt:lpwstr>A4 Mieux comminiquer à l'écrit USAID Module Presentation</vt:lpwstr>
  </property>
</Properties>
</file>